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98" r:id="rId1"/>
    <p:sldMasterId id="2147483811" r:id="rId2"/>
  </p:sldMasterIdLst>
  <p:notesMasterIdLst>
    <p:notesMasterId r:id="rId70"/>
  </p:notesMasterIdLst>
  <p:sldIdLst>
    <p:sldId id="386" r:id="rId3"/>
    <p:sldId id="601" r:id="rId4"/>
    <p:sldId id="675" r:id="rId5"/>
    <p:sldId id="677" r:id="rId6"/>
    <p:sldId id="678" r:id="rId7"/>
    <p:sldId id="679" r:id="rId8"/>
    <p:sldId id="602" r:id="rId9"/>
    <p:sldId id="680" r:id="rId10"/>
    <p:sldId id="682" r:id="rId11"/>
    <p:sldId id="681" r:id="rId12"/>
    <p:sldId id="676" r:id="rId13"/>
    <p:sldId id="424" r:id="rId14"/>
    <p:sldId id="683" r:id="rId15"/>
    <p:sldId id="685" r:id="rId16"/>
    <p:sldId id="548" r:id="rId17"/>
    <p:sldId id="550" r:id="rId18"/>
    <p:sldId id="552" r:id="rId19"/>
    <p:sldId id="599" r:id="rId20"/>
    <p:sldId id="553" r:id="rId21"/>
    <p:sldId id="554" r:id="rId22"/>
    <p:sldId id="555" r:id="rId23"/>
    <p:sldId id="556" r:id="rId24"/>
    <p:sldId id="557" r:id="rId25"/>
    <p:sldId id="559" r:id="rId26"/>
    <p:sldId id="560" r:id="rId27"/>
    <p:sldId id="561" r:id="rId28"/>
    <p:sldId id="562" r:id="rId29"/>
    <p:sldId id="563" r:id="rId30"/>
    <p:sldId id="564" r:id="rId31"/>
    <p:sldId id="687" r:id="rId32"/>
    <p:sldId id="566" r:id="rId33"/>
    <p:sldId id="567" r:id="rId34"/>
    <p:sldId id="568" r:id="rId35"/>
    <p:sldId id="569" r:id="rId36"/>
    <p:sldId id="570" r:id="rId37"/>
    <p:sldId id="686" r:id="rId38"/>
    <p:sldId id="571" r:id="rId39"/>
    <p:sldId id="600" r:id="rId40"/>
    <p:sldId id="572" r:id="rId41"/>
    <p:sldId id="573" r:id="rId42"/>
    <p:sldId id="574" r:id="rId43"/>
    <p:sldId id="575" r:id="rId44"/>
    <p:sldId id="576" r:id="rId45"/>
    <p:sldId id="577" r:id="rId46"/>
    <p:sldId id="578" r:id="rId47"/>
    <p:sldId id="579" r:id="rId48"/>
    <p:sldId id="688" r:id="rId49"/>
    <p:sldId id="580" r:id="rId50"/>
    <p:sldId id="581" r:id="rId51"/>
    <p:sldId id="582" r:id="rId52"/>
    <p:sldId id="583" r:id="rId53"/>
    <p:sldId id="584" r:id="rId54"/>
    <p:sldId id="689" r:id="rId55"/>
    <p:sldId id="585" r:id="rId56"/>
    <p:sldId id="586" r:id="rId57"/>
    <p:sldId id="587" r:id="rId58"/>
    <p:sldId id="588" r:id="rId59"/>
    <p:sldId id="690" r:id="rId60"/>
    <p:sldId id="589" r:id="rId61"/>
    <p:sldId id="590" r:id="rId62"/>
    <p:sldId id="591" r:id="rId63"/>
    <p:sldId id="592" r:id="rId64"/>
    <p:sldId id="593" r:id="rId65"/>
    <p:sldId id="594" r:id="rId66"/>
    <p:sldId id="596" r:id="rId67"/>
    <p:sldId id="597" r:id="rId68"/>
    <p:sldId id="691" r:id="rId69"/>
  </p:sldIdLst>
  <p:sldSz cx="15119350" cy="10691813"/>
  <p:notesSz cx="6797675" cy="9928225"/>
  <p:embeddedFontLst>
    <p:embeddedFont>
      <p:font typeface="Calibri" panose="020F0502020204030204" pitchFamily="34" charset="0"/>
      <p:regular r:id="rId71"/>
      <p:bold r:id="rId72"/>
      <p:italic r:id="rId73"/>
      <p:boldItalic r:id="rId74"/>
    </p:embeddedFont>
    <p:embeddedFont>
      <p:font typeface="Calibri Light" panose="020F0302020204030204" pitchFamily="34" charset="0"/>
      <p:regular r:id="rId75"/>
      <p:italic r:id="rId76"/>
    </p:embeddedFont>
    <p:embeddedFont>
      <p:font typeface="Cambria Math" panose="02040503050406030204" pitchFamily="18" charset="0"/>
      <p:regular r:id="rId77"/>
    </p:embeddedFont>
  </p:embeddedFontLst>
  <p:defaultTextStyle>
    <a:defPPr>
      <a:defRPr lang="ru-RU"/>
    </a:defPPr>
    <a:lvl1pPr marL="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1pPr>
    <a:lvl2pPr marL="646469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2pPr>
    <a:lvl3pPr marL="1292937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3pPr>
    <a:lvl4pPr marL="1939406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4pPr>
    <a:lvl5pPr marL="2585874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5pPr>
    <a:lvl6pPr marL="3232343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6pPr>
    <a:lvl7pPr marL="387881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7pPr>
    <a:lvl8pPr marL="452528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8pPr>
    <a:lvl9pPr marL="5171747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763" userDrawn="1">
          <p15:clr>
            <a:srgbClr val="A4A3A4"/>
          </p15:clr>
        </p15:guide>
        <p15:guide id="2" orient="horz" pos="3369" userDrawn="1">
          <p15:clr>
            <a:srgbClr val="A4A3A4"/>
          </p15:clr>
        </p15:guide>
        <p15:guide id="3" pos="488" userDrawn="1">
          <p15:clr>
            <a:srgbClr val="A4A3A4"/>
          </p15:clr>
        </p15:guide>
        <p15:guide id="4" orient="horz" pos="4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аталья Алтыникова" initials="НА" lastIdx="1" clrIdx="0">
    <p:extLst>
      <p:ext uri="{19B8F6BF-5375-455C-9EA6-DF929625EA0E}">
        <p15:presenceInfo xmlns:p15="http://schemas.microsoft.com/office/powerpoint/2012/main" userId="1c6a4539b27602f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9DD7"/>
    <a:srgbClr val="565087"/>
    <a:srgbClr val="ABABDD"/>
    <a:srgbClr val="423D67"/>
    <a:srgbClr val="CDCDEB"/>
    <a:srgbClr val="8A8AD0"/>
    <a:srgbClr val="007499"/>
    <a:srgbClr val="005685"/>
    <a:srgbClr val="FF5429"/>
    <a:srgbClr val="00B0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82" autoAdjust="0"/>
    <p:restoredTop sz="99882" autoAdjust="0"/>
  </p:normalViewPr>
  <p:slideViewPr>
    <p:cSldViewPr snapToGrid="0" snapToObjects="1">
      <p:cViewPr>
        <p:scale>
          <a:sx n="70" d="100"/>
          <a:sy n="70" d="100"/>
        </p:scale>
        <p:origin x="374" y="48"/>
      </p:cViewPr>
      <p:guideLst>
        <p:guide pos="4763"/>
        <p:guide orient="horz" pos="3369"/>
        <p:guide pos="488"/>
        <p:guide orient="horz" pos="43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6" d="100"/>
          <a:sy n="76" d="100"/>
        </p:scale>
        <p:origin x="-3282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 /><Relationship Id="rId18" Type="http://schemas.openxmlformats.org/officeDocument/2006/relationships/slide" Target="slides/slide16.xml" /><Relationship Id="rId26" Type="http://schemas.openxmlformats.org/officeDocument/2006/relationships/slide" Target="slides/slide24.xml" /><Relationship Id="rId39" Type="http://schemas.openxmlformats.org/officeDocument/2006/relationships/slide" Target="slides/slide37.xml" /><Relationship Id="rId21" Type="http://schemas.openxmlformats.org/officeDocument/2006/relationships/slide" Target="slides/slide19.xml" /><Relationship Id="rId34" Type="http://schemas.openxmlformats.org/officeDocument/2006/relationships/slide" Target="slides/slide32.xml" /><Relationship Id="rId42" Type="http://schemas.openxmlformats.org/officeDocument/2006/relationships/slide" Target="slides/slide40.xml" /><Relationship Id="rId47" Type="http://schemas.openxmlformats.org/officeDocument/2006/relationships/slide" Target="slides/slide45.xml" /><Relationship Id="rId50" Type="http://schemas.openxmlformats.org/officeDocument/2006/relationships/slide" Target="slides/slide48.xml" /><Relationship Id="rId55" Type="http://schemas.openxmlformats.org/officeDocument/2006/relationships/slide" Target="slides/slide53.xml" /><Relationship Id="rId63" Type="http://schemas.openxmlformats.org/officeDocument/2006/relationships/slide" Target="slides/slide61.xml" /><Relationship Id="rId68" Type="http://schemas.openxmlformats.org/officeDocument/2006/relationships/slide" Target="slides/slide66.xml" /><Relationship Id="rId76" Type="http://schemas.openxmlformats.org/officeDocument/2006/relationships/font" Target="fonts/font6.fntdata" /><Relationship Id="rId7" Type="http://schemas.openxmlformats.org/officeDocument/2006/relationships/slide" Target="slides/slide5.xml" /><Relationship Id="rId71" Type="http://schemas.openxmlformats.org/officeDocument/2006/relationships/font" Target="fonts/font1.fntdata" /><Relationship Id="rId2" Type="http://schemas.openxmlformats.org/officeDocument/2006/relationships/slideMaster" Target="slideMasters/slideMaster2.xml" /><Relationship Id="rId16" Type="http://schemas.openxmlformats.org/officeDocument/2006/relationships/slide" Target="slides/slide14.xml" /><Relationship Id="rId29" Type="http://schemas.openxmlformats.org/officeDocument/2006/relationships/slide" Target="slides/slide27.xml" /><Relationship Id="rId11" Type="http://schemas.openxmlformats.org/officeDocument/2006/relationships/slide" Target="slides/slide9.xml" /><Relationship Id="rId24" Type="http://schemas.openxmlformats.org/officeDocument/2006/relationships/slide" Target="slides/slide22.xml" /><Relationship Id="rId32" Type="http://schemas.openxmlformats.org/officeDocument/2006/relationships/slide" Target="slides/slide30.xml" /><Relationship Id="rId37" Type="http://schemas.openxmlformats.org/officeDocument/2006/relationships/slide" Target="slides/slide35.xml" /><Relationship Id="rId40" Type="http://schemas.openxmlformats.org/officeDocument/2006/relationships/slide" Target="slides/slide38.xml" /><Relationship Id="rId45" Type="http://schemas.openxmlformats.org/officeDocument/2006/relationships/slide" Target="slides/slide43.xml" /><Relationship Id="rId53" Type="http://schemas.openxmlformats.org/officeDocument/2006/relationships/slide" Target="slides/slide51.xml" /><Relationship Id="rId58" Type="http://schemas.openxmlformats.org/officeDocument/2006/relationships/slide" Target="slides/slide56.xml" /><Relationship Id="rId66" Type="http://schemas.openxmlformats.org/officeDocument/2006/relationships/slide" Target="slides/slide64.xml" /><Relationship Id="rId74" Type="http://schemas.openxmlformats.org/officeDocument/2006/relationships/font" Target="fonts/font4.fntdata" /><Relationship Id="rId79" Type="http://schemas.openxmlformats.org/officeDocument/2006/relationships/presProps" Target="presProps.xml" /><Relationship Id="rId5" Type="http://schemas.openxmlformats.org/officeDocument/2006/relationships/slide" Target="slides/slide3.xml" /><Relationship Id="rId61" Type="http://schemas.openxmlformats.org/officeDocument/2006/relationships/slide" Target="slides/slide59.xml" /><Relationship Id="rId82" Type="http://schemas.openxmlformats.org/officeDocument/2006/relationships/tableStyles" Target="tableStyles.xml" /><Relationship Id="rId10" Type="http://schemas.openxmlformats.org/officeDocument/2006/relationships/slide" Target="slides/slide8.xml" /><Relationship Id="rId19" Type="http://schemas.openxmlformats.org/officeDocument/2006/relationships/slide" Target="slides/slide17.xml" /><Relationship Id="rId31" Type="http://schemas.openxmlformats.org/officeDocument/2006/relationships/slide" Target="slides/slide29.xml" /><Relationship Id="rId44" Type="http://schemas.openxmlformats.org/officeDocument/2006/relationships/slide" Target="slides/slide42.xml" /><Relationship Id="rId52" Type="http://schemas.openxmlformats.org/officeDocument/2006/relationships/slide" Target="slides/slide50.xml" /><Relationship Id="rId60" Type="http://schemas.openxmlformats.org/officeDocument/2006/relationships/slide" Target="slides/slide58.xml" /><Relationship Id="rId65" Type="http://schemas.openxmlformats.org/officeDocument/2006/relationships/slide" Target="slides/slide63.xml" /><Relationship Id="rId73" Type="http://schemas.openxmlformats.org/officeDocument/2006/relationships/font" Target="fonts/font3.fntdata" /><Relationship Id="rId78" Type="http://schemas.openxmlformats.org/officeDocument/2006/relationships/commentAuthors" Target="commentAuthors.xml" /><Relationship Id="rId81" Type="http://schemas.openxmlformats.org/officeDocument/2006/relationships/theme" Target="theme/theme1.xml" /><Relationship Id="rId4" Type="http://schemas.openxmlformats.org/officeDocument/2006/relationships/slide" Target="slides/slide2.xml" /><Relationship Id="rId9" Type="http://schemas.openxmlformats.org/officeDocument/2006/relationships/slide" Target="slides/slide7.xml" /><Relationship Id="rId14" Type="http://schemas.openxmlformats.org/officeDocument/2006/relationships/slide" Target="slides/slide12.xml" /><Relationship Id="rId22" Type="http://schemas.openxmlformats.org/officeDocument/2006/relationships/slide" Target="slides/slide20.xml" /><Relationship Id="rId27" Type="http://schemas.openxmlformats.org/officeDocument/2006/relationships/slide" Target="slides/slide25.xml" /><Relationship Id="rId30" Type="http://schemas.openxmlformats.org/officeDocument/2006/relationships/slide" Target="slides/slide28.xml" /><Relationship Id="rId35" Type="http://schemas.openxmlformats.org/officeDocument/2006/relationships/slide" Target="slides/slide33.xml" /><Relationship Id="rId43" Type="http://schemas.openxmlformats.org/officeDocument/2006/relationships/slide" Target="slides/slide41.xml" /><Relationship Id="rId48" Type="http://schemas.openxmlformats.org/officeDocument/2006/relationships/slide" Target="slides/slide46.xml" /><Relationship Id="rId56" Type="http://schemas.openxmlformats.org/officeDocument/2006/relationships/slide" Target="slides/slide54.xml" /><Relationship Id="rId64" Type="http://schemas.openxmlformats.org/officeDocument/2006/relationships/slide" Target="slides/slide62.xml" /><Relationship Id="rId69" Type="http://schemas.openxmlformats.org/officeDocument/2006/relationships/slide" Target="slides/slide67.xml" /><Relationship Id="rId77" Type="http://schemas.openxmlformats.org/officeDocument/2006/relationships/font" Target="fonts/font7.fntdata" /><Relationship Id="rId8" Type="http://schemas.openxmlformats.org/officeDocument/2006/relationships/slide" Target="slides/slide6.xml" /><Relationship Id="rId51" Type="http://schemas.openxmlformats.org/officeDocument/2006/relationships/slide" Target="slides/slide49.xml" /><Relationship Id="rId72" Type="http://schemas.openxmlformats.org/officeDocument/2006/relationships/font" Target="fonts/font2.fntdata" /><Relationship Id="rId80" Type="http://schemas.openxmlformats.org/officeDocument/2006/relationships/viewProps" Target="viewProps.xml" /><Relationship Id="rId3" Type="http://schemas.openxmlformats.org/officeDocument/2006/relationships/slide" Target="slides/slide1.xml" /><Relationship Id="rId12" Type="http://schemas.openxmlformats.org/officeDocument/2006/relationships/slide" Target="slides/slide10.xml" /><Relationship Id="rId17" Type="http://schemas.openxmlformats.org/officeDocument/2006/relationships/slide" Target="slides/slide15.xml" /><Relationship Id="rId25" Type="http://schemas.openxmlformats.org/officeDocument/2006/relationships/slide" Target="slides/slide23.xml" /><Relationship Id="rId33" Type="http://schemas.openxmlformats.org/officeDocument/2006/relationships/slide" Target="slides/slide31.xml" /><Relationship Id="rId38" Type="http://schemas.openxmlformats.org/officeDocument/2006/relationships/slide" Target="slides/slide36.xml" /><Relationship Id="rId46" Type="http://schemas.openxmlformats.org/officeDocument/2006/relationships/slide" Target="slides/slide44.xml" /><Relationship Id="rId59" Type="http://schemas.openxmlformats.org/officeDocument/2006/relationships/slide" Target="slides/slide57.xml" /><Relationship Id="rId67" Type="http://schemas.openxmlformats.org/officeDocument/2006/relationships/slide" Target="slides/slide65.xml" /><Relationship Id="rId20" Type="http://schemas.openxmlformats.org/officeDocument/2006/relationships/slide" Target="slides/slide18.xml" /><Relationship Id="rId41" Type="http://schemas.openxmlformats.org/officeDocument/2006/relationships/slide" Target="slides/slide39.xml" /><Relationship Id="rId54" Type="http://schemas.openxmlformats.org/officeDocument/2006/relationships/slide" Target="slides/slide52.xml" /><Relationship Id="rId62" Type="http://schemas.openxmlformats.org/officeDocument/2006/relationships/slide" Target="slides/slide60.xml" /><Relationship Id="rId70" Type="http://schemas.openxmlformats.org/officeDocument/2006/relationships/notesMaster" Target="notesMasters/notesMaster1.xml" /><Relationship Id="rId75" Type="http://schemas.openxmlformats.org/officeDocument/2006/relationships/font" Target="fonts/font5.fntdata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4.xml" /><Relationship Id="rId15" Type="http://schemas.openxmlformats.org/officeDocument/2006/relationships/slide" Target="slides/slide13.xml" /><Relationship Id="rId23" Type="http://schemas.openxmlformats.org/officeDocument/2006/relationships/slide" Target="slides/slide21.xml" /><Relationship Id="rId28" Type="http://schemas.openxmlformats.org/officeDocument/2006/relationships/slide" Target="slides/slide26.xml" /><Relationship Id="rId36" Type="http://schemas.openxmlformats.org/officeDocument/2006/relationships/slide" Target="slides/slide34.xml" /><Relationship Id="rId49" Type="http://schemas.openxmlformats.org/officeDocument/2006/relationships/slide" Target="slides/slide47.xml" /><Relationship Id="rId57" Type="http://schemas.openxmlformats.org/officeDocument/2006/relationships/slide" Target="slides/slide55.xml" 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F9956D-6474-49D4-859D-E054AD53E20E}" type="doc">
      <dgm:prSet loTypeId="urn:microsoft.com/office/officeart/2005/8/layout/hProcess9" loCatId="process" qsTypeId="urn:microsoft.com/office/officeart/2005/8/quickstyle/simple1" qsCatId="simple" csTypeId="urn:microsoft.com/office/officeart/2005/8/colors/colorful1" csCatId="colorful" phldr="1"/>
      <dgm:spPr/>
    </dgm:pt>
    <dgm:pt modelId="{B0C3E394-0D3A-43CE-AAD1-B07E9512A2A5}">
      <dgm:prSet phldrT="[Текст]"/>
      <dgm:spPr>
        <a:solidFill>
          <a:srgbClr val="9D9DD7"/>
        </a:solidFill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Бессрочная аккредитация </a:t>
          </a:r>
        </a:p>
      </dgm:t>
    </dgm:pt>
    <dgm:pt modelId="{2BCAE223-A8EC-44DC-B095-62B34ECEC0CD}" type="parTrans" cxnId="{F6B9282C-8F85-4409-91E3-4FEF46A03AB9}">
      <dgm:prSet/>
      <dgm:spPr/>
      <dgm:t>
        <a:bodyPr/>
        <a:lstStyle/>
        <a:p>
          <a:endParaRPr lang="ru-RU"/>
        </a:p>
      </dgm:t>
    </dgm:pt>
    <dgm:pt modelId="{7EE1FF51-F91E-4C6B-882C-C5A2D01D0C13}" type="sibTrans" cxnId="{F6B9282C-8F85-4409-91E3-4FEF46A03AB9}">
      <dgm:prSet/>
      <dgm:spPr/>
      <dgm:t>
        <a:bodyPr/>
        <a:lstStyle/>
        <a:p>
          <a:endParaRPr lang="ru-RU"/>
        </a:p>
      </dgm:t>
    </dgm:pt>
    <dgm:pt modelId="{0F1F8976-CD37-431E-A276-AEE4FF602A72}">
      <dgm:prSet phldrT="[Текст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Аккредитационный мониторинг </a:t>
          </a:r>
        </a:p>
      </dgm:t>
    </dgm:pt>
    <dgm:pt modelId="{9AB75408-BEA5-4362-8E5A-71CC5C604841}" type="parTrans" cxnId="{4D90994B-4138-4435-A610-3C9B9E3F9B7E}">
      <dgm:prSet/>
      <dgm:spPr/>
      <dgm:t>
        <a:bodyPr/>
        <a:lstStyle/>
        <a:p>
          <a:endParaRPr lang="ru-RU"/>
        </a:p>
      </dgm:t>
    </dgm:pt>
    <dgm:pt modelId="{4B1AF2B7-F6AE-4356-8AD5-D89A2D374DF4}" type="sibTrans" cxnId="{4D90994B-4138-4435-A610-3C9B9E3F9B7E}">
      <dgm:prSet/>
      <dgm:spPr/>
      <dgm:t>
        <a:bodyPr/>
        <a:lstStyle/>
        <a:p>
          <a:endParaRPr lang="ru-RU"/>
        </a:p>
      </dgm:t>
    </dgm:pt>
    <dgm:pt modelId="{AF73C732-8FA2-45B4-BA49-15C43F5EEC8B}">
      <dgm:prSet phldrT="[Текст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2800" b="1" dirty="0">
              <a:solidFill>
                <a:schemeClr val="tx1"/>
              </a:solidFill>
            </a:rPr>
            <a:t>КНД</a:t>
          </a:r>
        </a:p>
      </dgm:t>
    </dgm:pt>
    <dgm:pt modelId="{FCCB38B5-B6E3-4245-A085-911D90605E6A}" type="parTrans" cxnId="{0B85988A-8CCA-4500-8BCB-5AA0B27C458F}">
      <dgm:prSet/>
      <dgm:spPr/>
      <dgm:t>
        <a:bodyPr/>
        <a:lstStyle/>
        <a:p>
          <a:endParaRPr lang="ru-RU"/>
        </a:p>
      </dgm:t>
    </dgm:pt>
    <dgm:pt modelId="{2DD6AE97-46E6-4D9E-B038-970ABA31410C}" type="sibTrans" cxnId="{0B85988A-8CCA-4500-8BCB-5AA0B27C458F}">
      <dgm:prSet/>
      <dgm:spPr/>
      <dgm:t>
        <a:bodyPr/>
        <a:lstStyle/>
        <a:p>
          <a:endParaRPr lang="ru-RU"/>
        </a:p>
      </dgm:t>
    </dgm:pt>
    <dgm:pt modelId="{2F7EEC4D-C2B0-4D3F-8A67-A6BDB79ACE03}" type="pres">
      <dgm:prSet presAssocID="{14F9956D-6474-49D4-859D-E054AD53E20E}" presName="CompostProcess" presStyleCnt="0">
        <dgm:presLayoutVars>
          <dgm:dir/>
          <dgm:resizeHandles val="exact"/>
        </dgm:presLayoutVars>
      </dgm:prSet>
      <dgm:spPr/>
    </dgm:pt>
    <dgm:pt modelId="{5231E166-E5AC-40C9-AA18-BE508AE67983}" type="pres">
      <dgm:prSet presAssocID="{14F9956D-6474-49D4-859D-E054AD53E20E}" presName="arrow" presStyleLbl="bgShp" presStyleIdx="0" presStyleCnt="1"/>
      <dgm:spPr/>
    </dgm:pt>
    <dgm:pt modelId="{7A17B882-1310-4724-B6DC-CB931415427C}" type="pres">
      <dgm:prSet presAssocID="{14F9956D-6474-49D4-859D-E054AD53E20E}" presName="linearProcess" presStyleCnt="0"/>
      <dgm:spPr/>
    </dgm:pt>
    <dgm:pt modelId="{514C40F2-7858-474A-9028-F576CF510A21}" type="pres">
      <dgm:prSet presAssocID="{B0C3E394-0D3A-43CE-AAD1-B07E9512A2A5}" presName="textNode" presStyleLbl="node1" presStyleIdx="0" presStyleCnt="3" custLinFactNeighborX="-6667">
        <dgm:presLayoutVars>
          <dgm:bulletEnabled val="1"/>
        </dgm:presLayoutVars>
      </dgm:prSet>
      <dgm:spPr/>
    </dgm:pt>
    <dgm:pt modelId="{62707564-C365-4D94-8836-6B9208BB7E40}" type="pres">
      <dgm:prSet presAssocID="{7EE1FF51-F91E-4C6B-882C-C5A2D01D0C13}" presName="sibTrans" presStyleCnt="0"/>
      <dgm:spPr/>
    </dgm:pt>
    <dgm:pt modelId="{F3672AF9-D045-4A68-B6C0-A2F2B6369DBC}" type="pres">
      <dgm:prSet presAssocID="{0F1F8976-CD37-431E-A276-AEE4FF602A72}" presName="textNode" presStyleLbl="node1" presStyleIdx="1" presStyleCnt="3">
        <dgm:presLayoutVars>
          <dgm:bulletEnabled val="1"/>
        </dgm:presLayoutVars>
      </dgm:prSet>
      <dgm:spPr/>
    </dgm:pt>
    <dgm:pt modelId="{F6950A95-0AB5-41CC-963E-BB97E55D4674}" type="pres">
      <dgm:prSet presAssocID="{4B1AF2B7-F6AE-4356-8AD5-D89A2D374DF4}" presName="sibTrans" presStyleCnt="0"/>
      <dgm:spPr/>
    </dgm:pt>
    <dgm:pt modelId="{6E975C03-2FD2-453A-859F-8F33A5EB6D11}" type="pres">
      <dgm:prSet presAssocID="{AF73C732-8FA2-45B4-BA49-15C43F5EEC8B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65F52D0B-50AE-48E7-805A-7DD6B4E07620}" type="presOf" srcId="{14F9956D-6474-49D4-859D-E054AD53E20E}" destId="{2F7EEC4D-C2B0-4D3F-8A67-A6BDB79ACE03}" srcOrd="0" destOrd="0" presId="urn:microsoft.com/office/officeart/2005/8/layout/hProcess9"/>
    <dgm:cxn modelId="{F6B9282C-8F85-4409-91E3-4FEF46A03AB9}" srcId="{14F9956D-6474-49D4-859D-E054AD53E20E}" destId="{B0C3E394-0D3A-43CE-AAD1-B07E9512A2A5}" srcOrd="0" destOrd="0" parTransId="{2BCAE223-A8EC-44DC-B095-62B34ECEC0CD}" sibTransId="{7EE1FF51-F91E-4C6B-882C-C5A2D01D0C13}"/>
    <dgm:cxn modelId="{4D90994B-4138-4435-A610-3C9B9E3F9B7E}" srcId="{14F9956D-6474-49D4-859D-E054AD53E20E}" destId="{0F1F8976-CD37-431E-A276-AEE4FF602A72}" srcOrd="1" destOrd="0" parTransId="{9AB75408-BEA5-4362-8E5A-71CC5C604841}" sibTransId="{4B1AF2B7-F6AE-4356-8AD5-D89A2D374DF4}"/>
    <dgm:cxn modelId="{D9F23589-1457-4F4D-B3DC-4E29C85BBD1E}" type="presOf" srcId="{AF73C732-8FA2-45B4-BA49-15C43F5EEC8B}" destId="{6E975C03-2FD2-453A-859F-8F33A5EB6D11}" srcOrd="0" destOrd="0" presId="urn:microsoft.com/office/officeart/2005/8/layout/hProcess9"/>
    <dgm:cxn modelId="{0B85988A-8CCA-4500-8BCB-5AA0B27C458F}" srcId="{14F9956D-6474-49D4-859D-E054AD53E20E}" destId="{AF73C732-8FA2-45B4-BA49-15C43F5EEC8B}" srcOrd="2" destOrd="0" parTransId="{FCCB38B5-B6E3-4245-A085-911D90605E6A}" sibTransId="{2DD6AE97-46E6-4D9E-B038-970ABA31410C}"/>
    <dgm:cxn modelId="{242D2D94-33A2-4944-ABAE-6DCDAA3C264B}" type="presOf" srcId="{B0C3E394-0D3A-43CE-AAD1-B07E9512A2A5}" destId="{514C40F2-7858-474A-9028-F576CF510A21}" srcOrd="0" destOrd="0" presId="urn:microsoft.com/office/officeart/2005/8/layout/hProcess9"/>
    <dgm:cxn modelId="{F281C1BB-C3EC-4133-B7CC-4E72499299CB}" type="presOf" srcId="{0F1F8976-CD37-431E-A276-AEE4FF602A72}" destId="{F3672AF9-D045-4A68-B6C0-A2F2B6369DBC}" srcOrd="0" destOrd="0" presId="urn:microsoft.com/office/officeart/2005/8/layout/hProcess9"/>
    <dgm:cxn modelId="{40FACBBB-152F-41B4-AE90-CE438D6C1223}" type="presParOf" srcId="{2F7EEC4D-C2B0-4D3F-8A67-A6BDB79ACE03}" destId="{5231E166-E5AC-40C9-AA18-BE508AE67983}" srcOrd="0" destOrd="0" presId="urn:microsoft.com/office/officeart/2005/8/layout/hProcess9"/>
    <dgm:cxn modelId="{4ADE8E29-D8F2-4D38-82C3-EC0B0E0265BA}" type="presParOf" srcId="{2F7EEC4D-C2B0-4D3F-8A67-A6BDB79ACE03}" destId="{7A17B882-1310-4724-B6DC-CB931415427C}" srcOrd="1" destOrd="0" presId="urn:microsoft.com/office/officeart/2005/8/layout/hProcess9"/>
    <dgm:cxn modelId="{30500AE9-617E-4FCE-AE7E-1AA125086F31}" type="presParOf" srcId="{7A17B882-1310-4724-B6DC-CB931415427C}" destId="{514C40F2-7858-474A-9028-F576CF510A21}" srcOrd="0" destOrd="0" presId="urn:microsoft.com/office/officeart/2005/8/layout/hProcess9"/>
    <dgm:cxn modelId="{6A0F1605-619B-4851-A243-78F053D168A0}" type="presParOf" srcId="{7A17B882-1310-4724-B6DC-CB931415427C}" destId="{62707564-C365-4D94-8836-6B9208BB7E40}" srcOrd="1" destOrd="0" presId="urn:microsoft.com/office/officeart/2005/8/layout/hProcess9"/>
    <dgm:cxn modelId="{5B7B8396-FA9B-4B92-AD6D-D882C2A359CF}" type="presParOf" srcId="{7A17B882-1310-4724-B6DC-CB931415427C}" destId="{F3672AF9-D045-4A68-B6C0-A2F2B6369DBC}" srcOrd="2" destOrd="0" presId="urn:microsoft.com/office/officeart/2005/8/layout/hProcess9"/>
    <dgm:cxn modelId="{26B26284-8D77-48DF-A099-69D27934EAF5}" type="presParOf" srcId="{7A17B882-1310-4724-B6DC-CB931415427C}" destId="{F6950A95-0AB5-41CC-963E-BB97E55D4674}" srcOrd="3" destOrd="0" presId="urn:microsoft.com/office/officeart/2005/8/layout/hProcess9"/>
    <dgm:cxn modelId="{69C49883-5258-43EE-8EF7-7BA84620C879}" type="presParOf" srcId="{7A17B882-1310-4724-B6DC-CB931415427C}" destId="{6E975C03-2FD2-453A-859F-8F33A5EB6D11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D84DD4E-08E9-4214-9C07-61F408160063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</dgm:pt>
    <dgm:pt modelId="{DE8F8D7A-D8FB-4895-A4C0-D1E4B88A7818}">
      <dgm:prSet phldrT="[Текст]" custT="1"/>
      <dgm:spPr/>
      <dgm:t>
        <a:bodyPr/>
        <a:lstStyle/>
        <a:p>
          <a:r>
            <a:rPr lang="ru-RU" sz="2000" b="1" dirty="0">
              <a:solidFill>
                <a:srgbClr val="FFFF00"/>
              </a:solidFill>
            </a:rPr>
            <a:t>1.09.2023 – 1.12.2023</a:t>
          </a:r>
        </a:p>
        <a:p>
          <a:r>
            <a:rPr lang="ru-RU" sz="1700" dirty="0"/>
            <a:t>Сбор данных </a:t>
          </a:r>
        </a:p>
      </dgm:t>
    </dgm:pt>
    <dgm:pt modelId="{8AA83FC1-7B52-4F48-A663-C638554D6559}" type="parTrans" cxnId="{FBF7D095-5A55-401F-A478-524BB694AE02}">
      <dgm:prSet/>
      <dgm:spPr/>
      <dgm:t>
        <a:bodyPr/>
        <a:lstStyle/>
        <a:p>
          <a:endParaRPr lang="ru-RU"/>
        </a:p>
      </dgm:t>
    </dgm:pt>
    <dgm:pt modelId="{48748604-F81D-4ACD-BE77-1D6BFC8C1511}" type="sibTrans" cxnId="{FBF7D095-5A55-401F-A478-524BB694AE02}">
      <dgm:prSet/>
      <dgm:spPr/>
      <dgm:t>
        <a:bodyPr/>
        <a:lstStyle/>
        <a:p>
          <a:endParaRPr lang="ru-RU"/>
        </a:p>
      </dgm:t>
    </dgm:pt>
    <dgm:pt modelId="{15C93ACF-3A28-4787-BA1E-963F3026FE1C}">
      <dgm:prSet phldrT="[Текст]" custT="1"/>
      <dgm:spPr/>
      <dgm:t>
        <a:bodyPr/>
        <a:lstStyle/>
        <a:p>
          <a:r>
            <a:rPr lang="ru-RU" sz="2000" b="1" dirty="0">
              <a:solidFill>
                <a:srgbClr val="FFFF00"/>
              </a:solidFill>
            </a:rPr>
            <a:t>До 25.01.2024</a:t>
          </a:r>
        </a:p>
        <a:p>
          <a:r>
            <a:rPr lang="ru-RU" sz="1700" dirty="0"/>
            <a:t>Обработка данных </a:t>
          </a:r>
        </a:p>
      </dgm:t>
    </dgm:pt>
    <dgm:pt modelId="{C53A7181-9F9B-4D66-AB78-78884E57CBB3}" type="parTrans" cxnId="{FDEF0AF7-8860-47E1-84C4-A0D4C0D0C9E3}">
      <dgm:prSet/>
      <dgm:spPr/>
      <dgm:t>
        <a:bodyPr/>
        <a:lstStyle/>
        <a:p>
          <a:endParaRPr lang="ru-RU"/>
        </a:p>
      </dgm:t>
    </dgm:pt>
    <dgm:pt modelId="{F35FA5DD-A916-49FD-9B76-336D7DC6B740}" type="sibTrans" cxnId="{FDEF0AF7-8860-47E1-84C4-A0D4C0D0C9E3}">
      <dgm:prSet/>
      <dgm:spPr/>
      <dgm:t>
        <a:bodyPr/>
        <a:lstStyle/>
        <a:p>
          <a:endParaRPr lang="ru-RU"/>
        </a:p>
      </dgm:t>
    </dgm:pt>
    <dgm:pt modelId="{6726E428-C7B7-4BE8-BF5B-ADD60B5060B9}">
      <dgm:prSet phldrT="[Текст]" custT="1"/>
      <dgm:spPr/>
      <dgm:t>
        <a:bodyPr/>
        <a:lstStyle/>
        <a:p>
          <a:r>
            <a:rPr lang="ru-RU" sz="2400" b="1" dirty="0">
              <a:solidFill>
                <a:srgbClr val="FFFF00"/>
              </a:solidFill>
            </a:rPr>
            <a:t>До </a:t>
          </a:r>
          <a:r>
            <a:rPr lang="ru-RU" sz="2000" b="1" dirty="0">
              <a:solidFill>
                <a:srgbClr val="FFFF00"/>
              </a:solidFill>
            </a:rPr>
            <a:t>15.03.2024</a:t>
          </a:r>
        </a:p>
        <a:p>
          <a:r>
            <a:rPr lang="ru-RU" sz="1700" dirty="0"/>
            <a:t>Подготовка итогового отчета </a:t>
          </a:r>
        </a:p>
      </dgm:t>
    </dgm:pt>
    <dgm:pt modelId="{84A45D19-6F7E-42D9-B887-F739EE2599F8}" type="parTrans" cxnId="{934572AF-7B2D-4BEC-BE0C-2531328B825E}">
      <dgm:prSet/>
      <dgm:spPr/>
      <dgm:t>
        <a:bodyPr/>
        <a:lstStyle/>
        <a:p>
          <a:endParaRPr lang="ru-RU"/>
        </a:p>
      </dgm:t>
    </dgm:pt>
    <dgm:pt modelId="{A0712BE2-82A7-48DD-ADEC-FA45DBAD9900}" type="sibTrans" cxnId="{934572AF-7B2D-4BEC-BE0C-2531328B825E}">
      <dgm:prSet/>
      <dgm:spPr/>
      <dgm:t>
        <a:bodyPr/>
        <a:lstStyle/>
        <a:p>
          <a:endParaRPr lang="ru-RU"/>
        </a:p>
      </dgm:t>
    </dgm:pt>
    <dgm:pt modelId="{219340C0-BE58-4EFF-A02E-9FBA49B5D41B}">
      <dgm:prSet custT="1"/>
      <dgm:spPr>
        <a:solidFill>
          <a:schemeClr val="accent2"/>
        </a:solidFill>
      </dgm:spPr>
      <dgm:t>
        <a:bodyPr/>
        <a:lstStyle/>
        <a:p>
          <a:r>
            <a:rPr lang="ru-RU" sz="2000" b="1" dirty="0">
              <a:solidFill>
                <a:srgbClr val="FFFF00"/>
              </a:solidFill>
            </a:rPr>
            <a:t>До </a:t>
          </a:r>
        </a:p>
        <a:p>
          <a:r>
            <a:rPr lang="ru-RU" sz="2000" b="1" dirty="0">
              <a:solidFill>
                <a:srgbClr val="FFFF00"/>
              </a:solidFill>
            </a:rPr>
            <a:t>1.05. 2024</a:t>
          </a:r>
          <a:r>
            <a:rPr lang="ru-RU" sz="2400" dirty="0">
              <a:solidFill>
                <a:srgbClr val="FFFF00"/>
              </a:solidFill>
            </a:rPr>
            <a:t> </a:t>
          </a:r>
        </a:p>
        <a:p>
          <a:r>
            <a:rPr lang="ru-RU" sz="1600" dirty="0"/>
            <a:t>Подготовка рекомендаций </a:t>
          </a:r>
        </a:p>
      </dgm:t>
    </dgm:pt>
    <dgm:pt modelId="{7A2DF2EE-E547-40FB-B062-D644F6954AC3}" type="parTrans" cxnId="{03F9950B-7369-491A-ADDF-FADE5181F5A2}">
      <dgm:prSet/>
      <dgm:spPr/>
      <dgm:t>
        <a:bodyPr/>
        <a:lstStyle/>
        <a:p>
          <a:endParaRPr lang="ru-RU"/>
        </a:p>
      </dgm:t>
    </dgm:pt>
    <dgm:pt modelId="{BAF121EC-6ED4-488C-87C7-C51C6A177B6B}" type="sibTrans" cxnId="{03F9950B-7369-491A-ADDF-FADE5181F5A2}">
      <dgm:prSet/>
      <dgm:spPr/>
      <dgm:t>
        <a:bodyPr/>
        <a:lstStyle/>
        <a:p>
          <a:endParaRPr lang="ru-RU"/>
        </a:p>
      </dgm:t>
    </dgm:pt>
    <dgm:pt modelId="{1BD307A3-98BF-4A75-BC38-8FBBABEE79D2}" type="pres">
      <dgm:prSet presAssocID="{CD84DD4E-08E9-4214-9C07-61F408160063}" presName="CompostProcess" presStyleCnt="0">
        <dgm:presLayoutVars>
          <dgm:dir/>
          <dgm:resizeHandles val="exact"/>
        </dgm:presLayoutVars>
      </dgm:prSet>
      <dgm:spPr/>
    </dgm:pt>
    <dgm:pt modelId="{67468B1D-36EB-4F4D-9154-BDE7D3B1AC2F}" type="pres">
      <dgm:prSet presAssocID="{CD84DD4E-08E9-4214-9C07-61F408160063}" presName="arrow" presStyleLbl="bgShp" presStyleIdx="0" presStyleCnt="1"/>
      <dgm:spPr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</dgm:pt>
    <dgm:pt modelId="{19DC0179-25A2-4F92-9648-D2AF9D32A388}" type="pres">
      <dgm:prSet presAssocID="{CD84DD4E-08E9-4214-9C07-61F408160063}" presName="linearProcess" presStyleCnt="0"/>
      <dgm:spPr/>
    </dgm:pt>
    <dgm:pt modelId="{ACAACEC3-FD9D-4564-BCDA-180A80724442}" type="pres">
      <dgm:prSet presAssocID="{DE8F8D7A-D8FB-4895-A4C0-D1E4B88A7818}" presName="textNode" presStyleLbl="node1" presStyleIdx="0" presStyleCnt="4" custLinFactNeighborX="5773" custLinFactNeighborY="9">
        <dgm:presLayoutVars>
          <dgm:bulletEnabled val="1"/>
        </dgm:presLayoutVars>
      </dgm:prSet>
      <dgm:spPr/>
    </dgm:pt>
    <dgm:pt modelId="{9F486E5F-F2D0-4527-9ACF-250EF406966C}" type="pres">
      <dgm:prSet presAssocID="{48748604-F81D-4ACD-BE77-1D6BFC8C1511}" presName="sibTrans" presStyleCnt="0"/>
      <dgm:spPr/>
    </dgm:pt>
    <dgm:pt modelId="{9CB03CC3-69F5-4AB6-834E-DADB165B7402}" type="pres">
      <dgm:prSet presAssocID="{15C93ACF-3A28-4787-BA1E-963F3026FE1C}" presName="textNode" presStyleLbl="node1" presStyleIdx="1" presStyleCnt="4">
        <dgm:presLayoutVars>
          <dgm:bulletEnabled val="1"/>
        </dgm:presLayoutVars>
      </dgm:prSet>
      <dgm:spPr/>
    </dgm:pt>
    <dgm:pt modelId="{929EA63C-B8F6-4EBC-878C-9D5D3EAA3DEA}" type="pres">
      <dgm:prSet presAssocID="{F35FA5DD-A916-49FD-9B76-336D7DC6B740}" presName="sibTrans" presStyleCnt="0"/>
      <dgm:spPr/>
    </dgm:pt>
    <dgm:pt modelId="{3204ADD2-DDC7-4FD1-A93E-7B7677A94C7A}" type="pres">
      <dgm:prSet presAssocID="{6726E428-C7B7-4BE8-BF5B-ADD60B5060B9}" presName="textNode" presStyleLbl="node1" presStyleIdx="2" presStyleCnt="4">
        <dgm:presLayoutVars>
          <dgm:bulletEnabled val="1"/>
        </dgm:presLayoutVars>
      </dgm:prSet>
      <dgm:spPr/>
    </dgm:pt>
    <dgm:pt modelId="{69308DD4-2224-4B29-9E0D-D8E39F1A4803}" type="pres">
      <dgm:prSet presAssocID="{A0712BE2-82A7-48DD-ADEC-FA45DBAD9900}" presName="sibTrans" presStyleCnt="0"/>
      <dgm:spPr/>
    </dgm:pt>
    <dgm:pt modelId="{7D70E723-F94B-469B-B68F-5246DC4F85C5}" type="pres">
      <dgm:prSet presAssocID="{219340C0-BE58-4EFF-A02E-9FBA49B5D41B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205ACA04-EDE6-4AC1-A07C-BF161BF1E245}" type="presOf" srcId="{CD84DD4E-08E9-4214-9C07-61F408160063}" destId="{1BD307A3-98BF-4A75-BC38-8FBBABEE79D2}" srcOrd="0" destOrd="0" presId="urn:microsoft.com/office/officeart/2005/8/layout/hProcess9"/>
    <dgm:cxn modelId="{374A8D07-D2A9-45DB-9581-10093AAEDDAD}" type="presOf" srcId="{6726E428-C7B7-4BE8-BF5B-ADD60B5060B9}" destId="{3204ADD2-DDC7-4FD1-A93E-7B7677A94C7A}" srcOrd="0" destOrd="0" presId="urn:microsoft.com/office/officeart/2005/8/layout/hProcess9"/>
    <dgm:cxn modelId="{03F9950B-7369-491A-ADDF-FADE5181F5A2}" srcId="{CD84DD4E-08E9-4214-9C07-61F408160063}" destId="{219340C0-BE58-4EFF-A02E-9FBA49B5D41B}" srcOrd="3" destOrd="0" parTransId="{7A2DF2EE-E547-40FB-B062-D644F6954AC3}" sibTransId="{BAF121EC-6ED4-488C-87C7-C51C6A177B6B}"/>
    <dgm:cxn modelId="{17E88A39-5FCA-4435-92FA-2D299EDBD15B}" type="presOf" srcId="{DE8F8D7A-D8FB-4895-A4C0-D1E4B88A7818}" destId="{ACAACEC3-FD9D-4564-BCDA-180A80724442}" srcOrd="0" destOrd="0" presId="urn:microsoft.com/office/officeart/2005/8/layout/hProcess9"/>
    <dgm:cxn modelId="{FBF7D095-5A55-401F-A478-524BB694AE02}" srcId="{CD84DD4E-08E9-4214-9C07-61F408160063}" destId="{DE8F8D7A-D8FB-4895-A4C0-D1E4B88A7818}" srcOrd="0" destOrd="0" parTransId="{8AA83FC1-7B52-4F48-A663-C638554D6559}" sibTransId="{48748604-F81D-4ACD-BE77-1D6BFC8C1511}"/>
    <dgm:cxn modelId="{934572AF-7B2D-4BEC-BE0C-2531328B825E}" srcId="{CD84DD4E-08E9-4214-9C07-61F408160063}" destId="{6726E428-C7B7-4BE8-BF5B-ADD60B5060B9}" srcOrd="2" destOrd="0" parTransId="{84A45D19-6F7E-42D9-B887-F739EE2599F8}" sibTransId="{A0712BE2-82A7-48DD-ADEC-FA45DBAD9900}"/>
    <dgm:cxn modelId="{41CC65E3-569D-42CC-8B1C-2D8BF9770FF3}" type="presOf" srcId="{15C93ACF-3A28-4787-BA1E-963F3026FE1C}" destId="{9CB03CC3-69F5-4AB6-834E-DADB165B7402}" srcOrd="0" destOrd="0" presId="urn:microsoft.com/office/officeart/2005/8/layout/hProcess9"/>
    <dgm:cxn modelId="{D82602E6-18A4-42C8-8FF5-14E74D9B4507}" type="presOf" srcId="{219340C0-BE58-4EFF-A02E-9FBA49B5D41B}" destId="{7D70E723-F94B-469B-B68F-5246DC4F85C5}" srcOrd="0" destOrd="0" presId="urn:microsoft.com/office/officeart/2005/8/layout/hProcess9"/>
    <dgm:cxn modelId="{FDEF0AF7-8860-47E1-84C4-A0D4C0D0C9E3}" srcId="{CD84DD4E-08E9-4214-9C07-61F408160063}" destId="{15C93ACF-3A28-4787-BA1E-963F3026FE1C}" srcOrd="1" destOrd="0" parTransId="{C53A7181-9F9B-4D66-AB78-78884E57CBB3}" sibTransId="{F35FA5DD-A916-49FD-9B76-336D7DC6B740}"/>
    <dgm:cxn modelId="{6C34C013-77B2-4995-A4C1-18347AE26EE4}" type="presParOf" srcId="{1BD307A3-98BF-4A75-BC38-8FBBABEE79D2}" destId="{67468B1D-36EB-4F4D-9154-BDE7D3B1AC2F}" srcOrd="0" destOrd="0" presId="urn:microsoft.com/office/officeart/2005/8/layout/hProcess9"/>
    <dgm:cxn modelId="{363E9071-1DF3-4128-B1F3-FD5248097CEE}" type="presParOf" srcId="{1BD307A3-98BF-4A75-BC38-8FBBABEE79D2}" destId="{19DC0179-25A2-4F92-9648-D2AF9D32A388}" srcOrd="1" destOrd="0" presId="urn:microsoft.com/office/officeart/2005/8/layout/hProcess9"/>
    <dgm:cxn modelId="{4364D554-D393-4ED1-B9DD-EF7814FE2316}" type="presParOf" srcId="{19DC0179-25A2-4F92-9648-D2AF9D32A388}" destId="{ACAACEC3-FD9D-4564-BCDA-180A80724442}" srcOrd="0" destOrd="0" presId="urn:microsoft.com/office/officeart/2005/8/layout/hProcess9"/>
    <dgm:cxn modelId="{E1D28AE9-AFD3-4D27-A9FA-D2AC224C63DE}" type="presParOf" srcId="{19DC0179-25A2-4F92-9648-D2AF9D32A388}" destId="{9F486E5F-F2D0-4527-9ACF-250EF406966C}" srcOrd="1" destOrd="0" presId="urn:microsoft.com/office/officeart/2005/8/layout/hProcess9"/>
    <dgm:cxn modelId="{33656E24-C7C6-4E6F-B89A-D230E192784C}" type="presParOf" srcId="{19DC0179-25A2-4F92-9648-D2AF9D32A388}" destId="{9CB03CC3-69F5-4AB6-834E-DADB165B7402}" srcOrd="2" destOrd="0" presId="urn:microsoft.com/office/officeart/2005/8/layout/hProcess9"/>
    <dgm:cxn modelId="{ABFAC019-D292-4942-9D49-752EC0F5E232}" type="presParOf" srcId="{19DC0179-25A2-4F92-9648-D2AF9D32A388}" destId="{929EA63C-B8F6-4EBC-878C-9D5D3EAA3DEA}" srcOrd="3" destOrd="0" presId="urn:microsoft.com/office/officeart/2005/8/layout/hProcess9"/>
    <dgm:cxn modelId="{64F199C0-ECBF-4633-9543-7F3C71CC7A8F}" type="presParOf" srcId="{19DC0179-25A2-4F92-9648-D2AF9D32A388}" destId="{3204ADD2-DDC7-4FD1-A93E-7B7677A94C7A}" srcOrd="4" destOrd="0" presId="urn:microsoft.com/office/officeart/2005/8/layout/hProcess9"/>
    <dgm:cxn modelId="{60E7FB47-7259-4C88-ACE6-D2BAB84D5E6B}" type="presParOf" srcId="{19DC0179-25A2-4F92-9648-D2AF9D32A388}" destId="{69308DD4-2224-4B29-9E0D-D8E39F1A4803}" srcOrd="5" destOrd="0" presId="urn:microsoft.com/office/officeart/2005/8/layout/hProcess9"/>
    <dgm:cxn modelId="{061F2957-F35D-401B-9889-92DDC077B3B4}" type="presParOf" srcId="{19DC0179-25A2-4F92-9648-D2AF9D32A388}" destId="{7D70E723-F94B-469B-B68F-5246DC4F85C5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2B3EAB1-217F-4DC1-B26A-0A0B6F8EFA89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00AE6ACD-1DAE-4FF0-99CD-72C4F52738EB}">
      <dgm:prSet phldrT="[Текст]"/>
      <dgm:spPr/>
      <dgm:t>
        <a:bodyPr/>
        <a:lstStyle/>
        <a:p>
          <a:r>
            <a:rPr lang="ru-RU" dirty="0">
              <a:solidFill>
                <a:schemeClr val="tx1"/>
              </a:solidFill>
            </a:rPr>
            <a:t>Чат </a:t>
          </a:r>
        </a:p>
        <a:p>
          <a:r>
            <a:rPr lang="ru-RU" b="1" dirty="0">
              <a:solidFill>
                <a:schemeClr val="tx1"/>
              </a:solidFill>
            </a:rPr>
            <a:t>«Вузы_</a:t>
          </a:r>
        </a:p>
        <a:p>
          <a:r>
            <a:rPr lang="ru-RU" b="1" dirty="0" err="1">
              <a:solidFill>
                <a:schemeClr val="tx1"/>
              </a:solidFill>
            </a:rPr>
            <a:t>аккредмониторинг</a:t>
          </a:r>
          <a:r>
            <a:rPr lang="ru-RU" b="1" dirty="0">
              <a:solidFill>
                <a:schemeClr val="tx1"/>
              </a:solidFill>
            </a:rPr>
            <a:t>»</a:t>
          </a:r>
        </a:p>
      </dgm:t>
    </dgm:pt>
    <dgm:pt modelId="{518AF031-B9EA-4246-B5A3-C995376F8546}" type="parTrans" cxnId="{C770F24A-2B6D-4B2B-9D07-3F567855FBEC}">
      <dgm:prSet/>
      <dgm:spPr/>
      <dgm:t>
        <a:bodyPr/>
        <a:lstStyle/>
        <a:p>
          <a:endParaRPr lang="ru-RU"/>
        </a:p>
      </dgm:t>
    </dgm:pt>
    <dgm:pt modelId="{74493AC5-C4C8-4ED3-9651-BEBE5FE02B19}" type="sibTrans" cxnId="{C770F24A-2B6D-4B2B-9D07-3F567855FBEC}">
      <dgm:prSet/>
      <dgm:spPr/>
      <dgm:t>
        <a:bodyPr/>
        <a:lstStyle/>
        <a:p>
          <a:endParaRPr lang="ru-RU"/>
        </a:p>
      </dgm:t>
    </dgm:pt>
    <dgm:pt modelId="{CBF262CB-9994-4C17-855C-DE9B5869F920}">
      <dgm:prSet phldrT="[Текст]"/>
      <dgm:spPr/>
      <dgm:t>
        <a:bodyPr/>
        <a:lstStyle/>
        <a:p>
          <a:r>
            <a:rPr lang="ru-RU" dirty="0">
              <a:solidFill>
                <a:schemeClr val="tx1"/>
              </a:solidFill>
            </a:rPr>
            <a:t> </a:t>
          </a:r>
        </a:p>
        <a:p>
          <a:r>
            <a:rPr lang="ru-RU" b="1" dirty="0">
              <a:solidFill>
                <a:schemeClr val="tx1"/>
              </a:solidFill>
            </a:rPr>
            <a:t>Техподдержка</a:t>
          </a:r>
        </a:p>
        <a:p>
          <a:endParaRPr lang="ru-RU" b="1" dirty="0">
            <a:solidFill>
              <a:schemeClr val="tx1"/>
            </a:solidFill>
          </a:endParaRPr>
        </a:p>
      </dgm:t>
    </dgm:pt>
    <dgm:pt modelId="{155EB684-AF6D-4BE6-925C-C3C20CB3228A}" type="parTrans" cxnId="{54308281-BC6A-45AC-9B73-064AA1174ED6}">
      <dgm:prSet/>
      <dgm:spPr/>
      <dgm:t>
        <a:bodyPr/>
        <a:lstStyle/>
        <a:p>
          <a:endParaRPr lang="ru-RU"/>
        </a:p>
      </dgm:t>
    </dgm:pt>
    <dgm:pt modelId="{9748E025-FC10-4478-9BC9-840F1C74DDD2}" type="sibTrans" cxnId="{54308281-BC6A-45AC-9B73-064AA1174ED6}">
      <dgm:prSet/>
      <dgm:spPr/>
      <dgm:t>
        <a:bodyPr/>
        <a:lstStyle/>
        <a:p>
          <a:endParaRPr lang="ru-RU"/>
        </a:p>
      </dgm:t>
    </dgm:pt>
    <dgm:pt modelId="{5BE67E27-C771-40A8-AEC8-DD80859451F2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Горячая линия Рособрнадзора  </a:t>
          </a:r>
        </a:p>
      </dgm:t>
    </dgm:pt>
    <dgm:pt modelId="{E5324E5E-3D05-412D-AC01-0F18832DA416}" type="parTrans" cxnId="{1DE291AB-FB19-41D3-A9AC-9B3325B21553}">
      <dgm:prSet/>
      <dgm:spPr/>
      <dgm:t>
        <a:bodyPr/>
        <a:lstStyle/>
        <a:p>
          <a:endParaRPr lang="ru-RU"/>
        </a:p>
      </dgm:t>
    </dgm:pt>
    <dgm:pt modelId="{6CDF0495-37E9-4D20-B0DE-9D77B4E39320}" type="sibTrans" cxnId="{1DE291AB-FB19-41D3-A9AC-9B3325B21553}">
      <dgm:prSet/>
      <dgm:spPr/>
      <dgm:t>
        <a:bodyPr/>
        <a:lstStyle/>
        <a:p>
          <a:endParaRPr lang="ru-RU"/>
        </a:p>
      </dgm:t>
    </dgm:pt>
    <dgm:pt modelId="{05AAF62B-F65C-4D20-886D-A7BB2115F97E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аздел на сайте Рособрнадзора и </a:t>
          </a:r>
          <a:r>
            <a:rPr lang="ru-RU" b="1" dirty="0" err="1">
              <a:solidFill>
                <a:schemeClr val="tx1"/>
              </a:solidFill>
            </a:rPr>
            <a:t>Росаккредагенства</a:t>
          </a:r>
          <a:r>
            <a:rPr lang="ru-RU" b="1" dirty="0">
              <a:solidFill>
                <a:schemeClr val="tx1"/>
              </a:solidFill>
            </a:rPr>
            <a:t>   </a:t>
          </a:r>
        </a:p>
        <a:p>
          <a:r>
            <a:rPr lang="ru-RU" b="1" dirty="0">
              <a:solidFill>
                <a:schemeClr val="tx1"/>
              </a:solidFill>
            </a:rPr>
            <a:t>«Аккредитационный </a:t>
          </a:r>
          <a:r>
            <a:rPr lang="ru-RU" b="1" dirty="0" err="1">
              <a:solidFill>
                <a:schemeClr val="tx1"/>
              </a:solidFill>
            </a:rPr>
            <a:t>мониоринг</a:t>
          </a:r>
          <a:r>
            <a:rPr lang="ru-RU" b="1" dirty="0">
              <a:solidFill>
                <a:schemeClr val="tx1"/>
              </a:solidFill>
            </a:rPr>
            <a:t>»</a:t>
          </a:r>
        </a:p>
      </dgm:t>
    </dgm:pt>
    <dgm:pt modelId="{B0A5C7D1-4159-40CF-8E80-24D97CBF7DD8}" type="parTrans" cxnId="{996511AE-C829-4017-92FC-3990FFD03CC2}">
      <dgm:prSet/>
      <dgm:spPr/>
      <dgm:t>
        <a:bodyPr/>
        <a:lstStyle/>
        <a:p>
          <a:endParaRPr lang="ru-RU"/>
        </a:p>
      </dgm:t>
    </dgm:pt>
    <dgm:pt modelId="{F5BC643D-E212-4A76-9E45-C86FFFAEC466}" type="sibTrans" cxnId="{996511AE-C829-4017-92FC-3990FFD03CC2}">
      <dgm:prSet/>
      <dgm:spPr/>
      <dgm:t>
        <a:bodyPr/>
        <a:lstStyle/>
        <a:p>
          <a:endParaRPr lang="ru-RU"/>
        </a:p>
      </dgm:t>
    </dgm:pt>
    <dgm:pt modelId="{9D7913EA-B665-4491-9049-F4CAABE82B57}">
      <dgm:prSet phldrT="[Текст]"/>
      <dgm:spPr/>
      <dgm:t>
        <a:bodyPr/>
        <a:lstStyle/>
        <a:p>
          <a:r>
            <a:rPr lang="ru-RU" dirty="0">
              <a:solidFill>
                <a:schemeClr val="tx1"/>
              </a:solidFill>
            </a:rPr>
            <a:t>Чат </a:t>
          </a:r>
        </a:p>
        <a:p>
          <a:r>
            <a:rPr lang="ru-RU" b="1" dirty="0">
              <a:solidFill>
                <a:schemeClr val="tx1"/>
              </a:solidFill>
            </a:rPr>
            <a:t>«СПО_</a:t>
          </a:r>
        </a:p>
        <a:p>
          <a:r>
            <a:rPr lang="ru-RU" b="1" dirty="0" err="1">
              <a:solidFill>
                <a:schemeClr val="tx1"/>
              </a:solidFill>
            </a:rPr>
            <a:t>аккредмониторинг</a:t>
          </a:r>
          <a:r>
            <a:rPr lang="ru-RU" b="1" dirty="0">
              <a:solidFill>
                <a:schemeClr val="tx1"/>
              </a:solidFill>
            </a:rPr>
            <a:t>»</a:t>
          </a:r>
        </a:p>
      </dgm:t>
    </dgm:pt>
    <dgm:pt modelId="{A9F17250-E455-4AA7-86D6-333BE5E59734}" type="sibTrans" cxnId="{68F7C896-D4D1-41A7-8452-2762019C3C03}">
      <dgm:prSet/>
      <dgm:spPr/>
      <dgm:t>
        <a:bodyPr/>
        <a:lstStyle/>
        <a:p>
          <a:endParaRPr lang="ru-RU"/>
        </a:p>
      </dgm:t>
    </dgm:pt>
    <dgm:pt modelId="{E9A830F5-2A33-4957-9731-A1658EB5C845}" type="parTrans" cxnId="{68F7C896-D4D1-41A7-8452-2762019C3C03}">
      <dgm:prSet/>
      <dgm:spPr/>
      <dgm:t>
        <a:bodyPr/>
        <a:lstStyle/>
        <a:p>
          <a:endParaRPr lang="ru-RU"/>
        </a:p>
      </dgm:t>
    </dgm:pt>
    <dgm:pt modelId="{A6619BB8-CDA3-49BB-8EAF-B656BD24EA93}">
      <dgm:prSet phldrT="[Текст]"/>
      <dgm:spPr/>
      <dgm:t>
        <a:bodyPr/>
        <a:lstStyle/>
        <a:p>
          <a:r>
            <a:rPr lang="ru-RU" dirty="0">
              <a:solidFill>
                <a:schemeClr val="tx1"/>
              </a:solidFill>
            </a:rPr>
            <a:t>Чат </a:t>
          </a:r>
        </a:p>
        <a:p>
          <a:r>
            <a:rPr lang="ru-RU" b="1" dirty="0">
              <a:solidFill>
                <a:schemeClr val="tx1"/>
              </a:solidFill>
            </a:rPr>
            <a:t>«Школы_</a:t>
          </a:r>
        </a:p>
        <a:p>
          <a:r>
            <a:rPr lang="ru-RU" b="1" dirty="0" err="1">
              <a:solidFill>
                <a:schemeClr val="tx1"/>
              </a:solidFill>
            </a:rPr>
            <a:t>Аккредмониторинг</a:t>
          </a:r>
          <a:r>
            <a:rPr lang="ru-RU" b="1" dirty="0">
              <a:solidFill>
                <a:schemeClr val="tx1"/>
              </a:solidFill>
            </a:rPr>
            <a:t>»</a:t>
          </a:r>
        </a:p>
      </dgm:t>
    </dgm:pt>
    <dgm:pt modelId="{72C7105B-BB39-4F07-97C7-75F945B7B688}" type="sibTrans" cxnId="{ADFED3EC-6A9C-436A-B7EB-508DCF66C42E}">
      <dgm:prSet/>
      <dgm:spPr/>
      <dgm:t>
        <a:bodyPr/>
        <a:lstStyle/>
        <a:p>
          <a:endParaRPr lang="ru-RU"/>
        </a:p>
      </dgm:t>
    </dgm:pt>
    <dgm:pt modelId="{3EA2D12A-9C0C-4198-850D-31669E2000C1}" type="parTrans" cxnId="{ADFED3EC-6A9C-436A-B7EB-508DCF66C42E}">
      <dgm:prSet/>
      <dgm:spPr/>
      <dgm:t>
        <a:bodyPr/>
        <a:lstStyle/>
        <a:p>
          <a:endParaRPr lang="ru-RU"/>
        </a:p>
      </dgm:t>
    </dgm:pt>
    <dgm:pt modelId="{7478CA9F-962E-45B8-85CB-C3014586892D}">
      <dgm:prSet/>
      <dgm:spPr>
        <a:solidFill>
          <a:srgbClr val="9D9DD7"/>
        </a:solidFill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Региональный координатор </a:t>
          </a:r>
        </a:p>
      </dgm:t>
    </dgm:pt>
    <dgm:pt modelId="{77E64655-9796-498A-A2C2-9499ACA22956}" type="parTrans" cxnId="{361B33D0-F93A-4A61-920F-C64981692591}">
      <dgm:prSet/>
      <dgm:spPr/>
      <dgm:t>
        <a:bodyPr/>
        <a:lstStyle/>
        <a:p>
          <a:endParaRPr lang="ru-RU"/>
        </a:p>
      </dgm:t>
    </dgm:pt>
    <dgm:pt modelId="{12EC0281-FC79-48EA-AD11-DC55E18BABDB}" type="sibTrans" cxnId="{361B33D0-F93A-4A61-920F-C64981692591}">
      <dgm:prSet/>
      <dgm:spPr/>
      <dgm:t>
        <a:bodyPr/>
        <a:lstStyle/>
        <a:p>
          <a:endParaRPr lang="ru-RU"/>
        </a:p>
      </dgm:t>
    </dgm:pt>
    <dgm:pt modelId="{7A686631-8038-4C07-B217-1D5BC5FBE4A9}" type="pres">
      <dgm:prSet presAssocID="{B2B3EAB1-217F-4DC1-B26A-0A0B6F8EFA89}" presName="diagram" presStyleCnt="0">
        <dgm:presLayoutVars>
          <dgm:dir/>
          <dgm:resizeHandles val="exact"/>
        </dgm:presLayoutVars>
      </dgm:prSet>
      <dgm:spPr/>
    </dgm:pt>
    <dgm:pt modelId="{4DAE1771-DE25-4682-A595-F18EF553CB2E}" type="pres">
      <dgm:prSet presAssocID="{A6619BB8-CDA3-49BB-8EAF-B656BD24EA93}" presName="node" presStyleLbl="node1" presStyleIdx="0" presStyleCnt="7">
        <dgm:presLayoutVars>
          <dgm:bulletEnabled val="1"/>
        </dgm:presLayoutVars>
      </dgm:prSet>
      <dgm:spPr/>
    </dgm:pt>
    <dgm:pt modelId="{1DFB43B4-ABAD-4C44-B8AF-AD72EB0D3E6D}" type="pres">
      <dgm:prSet presAssocID="{72C7105B-BB39-4F07-97C7-75F945B7B688}" presName="sibTrans" presStyleCnt="0"/>
      <dgm:spPr/>
    </dgm:pt>
    <dgm:pt modelId="{5E7F6E29-3A93-46FB-8106-939B1459EDC6}" type="pres">
      <dgm:prSet presAssocID="{9D7913EA-B665-4491-9049-F4CAABE82B57}" presName="node" presStyleLbl="node1" presStyleIdx="1" presStyleCnt="7">
        <dgm:presLayoutVars>
          <dgm:bulletEnabled val="1"/>
        </dgm:presLayoutVars>
      </dgm:prSet>
      <dgm:spPr/>
    </dgm:pt>
    <dgm:pt modelId="{AF7E4251-A22F-4020-8143-A1A4BE04228E}" type="pres">
      <dgm:prSet presAssocID="{A9F17250-E455-4AA7-86D6-333BE5E59734}" presName="sibTrans" presStyleCnt="0"/>
      <dgm:spPr/>
    </dgm:pt>
    <dgm:pt modelId="{EA4D3CC3-DE21-4A76-BC0F-A8AA6E4C36F7}" type="pres">
      <dgm:prSet presAssocID="{00AE6ACD-1DAE-4FF0-99CD-72C4F52738EB}" presName="node" presStyleLbl="node1" presStyleIdx="2" presStyleCnt="7">
        <dgm:presLayoutVars>
          <dgm:bulletEnabled val="1"/>
        </dgm:presLayoutVars>
      </dgm:prSet>
      <dgm:spPr/>
    </dgm:pt>
    <dgm:pt modelId="{78676CE8-06D0-4C61-A00E-470B3216D88A}" type="pres">
      <dgm:prSet presAssocID="{74493AC5-C4C8-4ED3-9651-BEBE5FE02B19}" presName="sibTrans" presStyleCnt="0"/>
      <dgm:spPr/>
    </dgm:pt>
    <dgm:pt modelId="{F75D5704-ABDC-457B-8F64-60609F73935F}" type="pres">
      <dgm:prSet presAssocID="{CBF262CB-9994-4C17-855C-DE9B5869F920}" presName="node" presStyleLbl="node1" presStyleIdx="3" presStyleCnt="7">
        <dgm:presLayoutVars>
          <dgm:bulletEnabled val="1"/>
        </dgm:presLayoutVars>
      </dgm:prSet>
      <dgm:spPr/>
    </dgm:pt>
    <dgm:pt modelId="{7493B841-A9D9-43C1-9F99-294F6AC5B6D9}" type="pres">
      <dgm:prSet presAssocID="{9748E025-FC10-4478-9BC9-840F1C74DDD2}" presName="sibTrans" presStyleCnt="0"/>
      <dgm:spPr/>
    </dgm:pt>
    <dgm:pt modelId="{98CD8E5A-FDC7-4FE9-991C-F604AB20AF32}" type="pres">
      <dgm:prSet presAssocID="{5BE67E27-C771-40A8-AEC8-DD80859451F2}" presName="node" presStyleLbl="node1" presStyleIdx="4" presStyleCnt="7">
        <dgm:presLayoutVars>
          <dgm:bulletEnabled val="1"/>
        </dgm:presLayoutVars>
      </dgm:prSet>
      <dgm:spPr/>
    </dgm:pt>
    <dgm:pt modelId="{C7820B02-DD9F-4178-8115-2268C7DEFAE0}" type="pres">
      <dgm:prSet presAssocID="{6CDF0495-37E9-4D20-B0DE-9D77B4E39320}" presName="sibTrans" presStyleCnt="0"/>
      <dgm:spPr/>
    </dgm:pt>
    <dgm:pt modelId="{674982CD-4522-4F95-A53A-A7AAFA2AF611}" type="pres">
      <dgm:prSet presAssocID="{05AAF62B-F65C-4D20-886D-A7BB2115F97E}" presName="node" presStyleLbl="node1" presStyleIdx="5" presStyleCnt="7">
        <dgm:presLayoutVars>
          <dgm:bulletEnabled val="1"/>
        </dgm:presLayoutVars>
      </dgm:prSet>
      <dgm:spPr/>
    </dgm:pt>
    <dgm:pt modelId="{885DD800-0650-48B0-9C8E-81E3A4543825}" type="pres">
      <dgm:prSet presAssocID="{F5BC643D-E212-4A76-9E45-C86FFFAEC466}" presName="sibTrans" presStyleCnt="0"/>
      <dgm:spPr/>
    </dgm:pt>
    <dgm:pt modelId="{48CF61CB-8AF5-459F-AA78-7F158FB80173}" type="pres">
      <dgm:prSet presAssocID="{7478CA9F-962E-45B8-85CB-C3014586892D}" presName="node" presStyleLbl="node1" presStyleIdx="6" presStyleCnt="7">
        <dgm:presLayoutVars>
          <dgm:bulletEnabled val="1"/>
        </dgm:presLayoutVars>
      </dgm:prSet>
      <dgm:spPr/>
    </dgm:pt>
  </dgm:ptLst>
  <dgm:cxnLst>
    <dgm:cxn modelId="{33E0A20F-D7AF-4EE5-A0BD-2C41F9065565}" type="presOf" srcId="{5BE67E27-C771-40A8-AEC8-DD80859451F2}" destId="{98CD8E5A-FDC7-4FE9-991C-F604AB20AF32}" srcOrd="0" destOrd="0" presId="urn:microsoft.com/office/officeart/2005/8/layout/default"/>
    <dgm:cxn modelId="{79617D10-9987-44F6-AFCF-2FFAA7913E62}" type="presOf" srcId="{00AE6ACD-1DAE-4FF0-99CD-72C4F52738EB}" destId="{EA4D3CC3-DE21-4A76-BC0F-A8AA6E4C36F7}" srcOrd="0" destOrd="0" presId="urn:microsoft.com/office/officeart/2005/8/layout/default"/>
    <dgm:cxn modelId="{8BED0344-715D-455A-9118-88A7DA144524}" type="presOf" srcId="{05AAF62B-F65C-4D20-886D-A7BB2115F97E}" destId="{674982CD-4522-4F95-A53A-A7AAFA2AF611}" srcOrd="0" destOrd="0" presId="urn:microsoft.com/office/officeart/2005/8/layout/default"/>
    <dgm:cxn modelId="{78FB5968-E282-40D6-B439-395AC254531C}" type="presOf" srcId="{A6619BB8-CDA3-49BB-8EAF-B656BD24EA93}" destId="{4DAE1771-DE25-4682-A595-F18EF553CB2E}" srcOrd="0" destOrd="0" presId="urn:microsoft.com/office/officeart/2005/8/layout/default"/>
    <dgm:cxn modelId="{C770F24A-2B6D-4B2B-9D07-3F567855FBEC}" srcId="{B2B3EAB1-217F-4DC1-B26A-0A0B6F8EFA89}" destId="{00AE6ACD-1DAE-4FF0-99CD-72C4F52738EB}" srcOrd="2" destOrd="0" parTransId="{518AF031-B9EA-4246-B5A3-C995376F8546}" sibTransId="{74493AC5-C4C8-4ED3-9651-BEBE5FE02B19}"/>
    <dgm:cxn modelId="{8054966C-24EE-413F-A5BC-1E50C46C0229}" type="presOf" srcId="{9D7913EA-B665-4491-9049-F4CAABE82B57}" destId="{5E7F6E29-3A93-46FB-8106-939B1459EDC6}" srcOrd="0" destOrd="0" presId="urn:microsoft.com/office/officeart/2005/8/layout/default"/>
    <dgm:cxn modelId="{54308281-BC6A-45AC-9B73-064AA1174ED6}" srcId="{B2B3EAB1-217F-4DC1-B26A-0A0B6F8EFA89}" destId="{CBF262CB-9994-4C17-855C-DE9B5869F920}" srcOrd="3" destOrd="0" parTransId="{155EB684-AF6D-4BE6-925C-C3C20CB3228A}" sibTransId="{9748E025-FC10-4478-9BC9-840F1C74DDD2}"/>
    <dgm:cxn modelId="{2BB1D18C-C79A-4C3E-84CA-1197539AF1D1}" type="presOf" srcId="{CBF262CB-9994-4C17-855C-DE9B5869F920}" destId="{F75D5704-ABDC-457B-8F64-60609F73935F}" srcOrd="0" destOrd="0" presId="urn:microsoft.com/office/officeart/2005/8/layout/default"/>
    <dgm:cxn modelId="{68F7C896-D4D1-41A7-8452-2762019C3C03}" srcId="{B2B3EAB1-217F-4DC1-B26A-0A0B6F8EFA89}" destId="{9D7913EA-B665-4491-9049-F4CAABE82B57}" srcOrd="1" destOrd="0" parTransId="{E9A830F5-2A33-4957-9731-A1658EB5C845}" sibTransId="{A9F17250-E455-4AA7-86D6-333BE5E59734}"/>
    <dgm:cxn modelId="{237F849C-7039-46AC-B28E-CFCD62D27EA3}" type="presOf" srcId="{7478CA9F-962E-45B8-85CB-C3014586892D}" destId="{48CF61CB-8AF5-459F-AA78-7F158FB80173}" srcOrd="0" destOrd="0" presId="urn:microsoft.com/office/officeart/2005/8/layout/default"/>
    <dgm:cxn modelId="{EA398DA1-306E-4858-B795-94A13B620398}" type="presOf" srcId="{B2B3EAB1-217F-4DC1-B26A-0A0B6F8EFA89}" destId="{7A686631-8038-4C07-B217-1D5BC5FBE4A9}" srcOrd="0" destOrd="0" presId="urn:microsoft.com/office/officeart/2005/8/layout/default"/>
    <dgm:cxn modelId="{1DE291AB-FB19-41D3-A9AC-9B3325B21553}" srcId="{B2B3EAB1-217F-4DC1-B26A-0A0B6F8EFA89}" destId="{5BE67E27-C771-40A8-AEC8-DD80859451F2}" srcOrd="4" destOrd="0" parTransId="{E5324E5E-3D05-412D-AC01-0F18832DA416}" sibTransId="{6CDF0495-37E9-4D20-B0DE-9D77B4E39320}"/>
    <dgm:cxn modelId="{996511AE-C829-4017-92FC-3990FFD03CC2}" srcId="{B2B3EAB1-217F-4DC1-B26A-0A0B6F8EFA89}" destId="{05AAF62B-F65C-4D20-886D-A7BB2115F97E}" srcOrd="5" destOrd="0" parTransId="{B0A5C7D1-4159-40CF-8E80-24D97CBF7DD8}" sibTransId="{F5BC643D-E212-4A76-9E45-C86FFFAEC466}"/>
    <dgm:cxn modelId="{361B33D0-F93A-4A61-920F-C64981692591}" srcId="{B2B3EAB1-217F-4DC1-B26A-0A0B6F8EFA89}" destId="{7478CA9F-962E-45B8-85CB-C3014586892D}" srcOrd="6" destOrd="0" parTransId="{77E64655-9796-498A-A2C2-9499ACA22956}" sibTransId="{12EC0281-FC79-48EA-AD11-DC55E18BABDB}"/>
    <dgm:cxn modelId="{ADFED3EC-6A9C-436A-B7EB-508DCF66C42E}" srcId="{B2B3EAB1-217F-4DC1-B26A-0A0B6F8EFA89}" destId="{A6619BB8-CDA3-49BB-8EAF-B656BD24EA93}" srcOrd="0" destOrd="0" parTransId="{3EA2D12A-9C0C-4198-850D-31669E2000C1}" sibTransId="{72C7105B-BB39-4F07-97C7-75F945B7B688}"/>
    <dgm:cxn modelId="{3871BAC0-3D25-44B8-8786-09808CE57DEA}" type="presParOf" srcId="{7A686631-8038-4C07-B217-1D5BC5FBE4A9}" destId="{4DAE1771-DE25-4682-A595-F18EF553CB2E}" srcOrd="0" destOrd="0" presId="urn:microsoft.com/office/officeart/2005/8/layout/default"/>
    <dgm:cxn modelId="{D7FB9BC0-5356-4325-A1BF-51B1064D5ECE}" type="presParOf" srcId="{7A686631-8038-4C07-B217-1D5BC5FBE4A9}" destId="{1DFB43B4-ABAD-4C44-B8AF-AD72EB0D3E6D}" srcOrd="1" destOrd="0" presId="urn:microsoft.com/office/officeart/2005/8/layout/default"/>
    <dgm:cxn modelId="{F80A3467-E90A-4CAF-BA0A-EF7174EB007A}" type="presParOf" srcId="{7A686631-8038-4C07-B217-1D5BC5FBE4A9}" destId="{5E7F6E29-3A93-46FB-8106-939B1459EDC6}" srcOrd="2" destOrd="0" presId="urn:microsoft.com/office/officeart/2005/8/layout/default"/>
    <dgm:cxn modelId="{A7B79533-6264-49FB-85D6-0DE15AD715ED}" type="presParOf" srcId="{7A686631-8038-4C07-B217-1D5BC5FBE4A9}" destId="{AF7E4251-A22F-4020-8143-A1A4BE04228E}" srcOrd="3" destOrd="0" presId="urn:microsoft.com/office/officeart/2005/8/layout/default"/>
    <dgm:cxn modelId="{FAD53562-52AF-4F76-9D70-36686D3A226F}" type="presParOf" srcId="{7A686631-8038-4C07-B217-1D5BC5FBE4A9}" destId="{EA4D3CC3-DE21-4A76-BC0F-A8AA6E4C36F7}" srcOrd="4" destOrd="0" presId="urn:microsoft.com/office/officeart/2005/8/layout/default"/>
    <dgm:cxn modelId="{480F38A9-B170-440E-A68F-D6E29E9741C1}" type="presParOf" srcId="{7A686631-8038-4C07-B217-1D5BC5FBE4A9}" destId="{78676CE8-06D0-4C61-A00E-470B3216D88A}" srcOrd="5" destOrd="0" presId="urn:microsoft.com/office/officeart/2005/8/layout/default"/>
    <dgm:cxn modelId="{FA0F2242-0A44-4F16-A1A5-6CDF28E8AF2F}" type="presParOf" srcId="{7A686631-8038-4C07-B217-1D5BC5FBE4A9}" destId="{F75D5704-ABDC-457B-8F64-60609F73935F}" srcOrd="6" destOrd="0" presId="urn:microsoft.com/office/officeart/2005/8/layout/default"/>
    <dgm:cxn modelId="{B70D4A8F-9A60-4AF7-854D-87075D1BB15C}" type="presParOf" srcId="{7A686631-8038-4C07-B217-1D5BC5FBE4A9}" destId="{7493B841-A9D9-43C1-9F99-294F6AC5B6D9}" srcOrd="7" destOrd="0" presId="urn:microsoft.com/office/officeart/2005/8/layout/default"/>
    <dgm:cxn modelId="{E2D4E237-E67D-41F1-A62D-F81F7DBCAD9F}" type="presParOf" srcId="{7A686631-8038-4C07-B217-1D5BC5FBE4A9}" destId="{98CD8E5A-FDC7-4FE9-991C-F604AB20AF32}" srcOrd="8" destOrd="0" presId="urn:microsoft.com/office/officeart/2005/8/layout/default"/>
    <dgm:cxn modelId="{382B7773-4F92-49DB-B857-F49522A28021}" type="presParOf" srcId="{7A686631-8038-4C07-B217-1D5BC5FBE4A9}" destId="{C7820B02-DD9F-4178-8115-2268C7DEFAE0}" srcOrd="9" destOrd="0" presId="urn:microsoft.com/office/officeart/2005/8/layout/default"/>
    <dgm:cxn modelId="{086B6788-655C-4830-97B2-0490A270B0D7}" type="presParOf" srcId="{7A686631-8038-4C07-B217-1D5BC5FBE4A9}" destId="{674982CD-4522-4F95-A53A-A7AAFA2AF611}" srcOrd="10" destOrd="0" presId="urn:microsoft.com/office/officeart/2005/8/layout/default"/>
    <dgm:cxn modelId="{82BB966C-004D-49A8-93DA-311FC4A2A955}" type="presParOf" srcId="{7A686631-8038-4C07-B217-1D5BC5FBE4A9}" destId="{885DD800-0650-48B0-9C8E-81E3A4543825}" srcOrd="11" destOrd="0" presId="urn:microsoft.com/office/officeart/2005/8/layout/default"/>
    <dgm:cxn modelId="{791BBB9D-96EE-4523-88E9-76B94068E825}" type="presParOf" srcId="{7A686631-8038-4C07-B217-1D5BC5FBE4A9}" destId="{48CF61CB-8AF5-459F-AA78-7F158FB80173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C755A43-663A-42C8-8686-780345754BA2}" type="doc">
      <dgm:prSet loTypeId="urn:microsoft.com/office/officeart/2005/8/layout/hProcess9" loCatId="process" qsTypeId="urn:microsoft.com/office/officeart/2005/8/quickstyle/simple3" qsCatId="simple" csTypeId="urn:microsoft.com/office/officeart/2005/8/colors/colorful5" csCatId="colorful" phldr="1"/>
      <dgm:spPr/>
    </dgm:pt>
    <dgm:pt modelId="{D5C20944-C5B2-4D97-89D3-3654A447158F}">
      <dgm:prSet phldrT="[Текст]" custT="1"/>
      <dgm:spPr/>
      <dgm:t>
        <a:bodyPr/>
        <a:lstStyle/>
        <a:p>
          <a:r>
            <a:rPr lang="ru-RU" sz="2400" b="1" dirty="0"/>
            <a:t>Запрос от Рособрнадзора в </a:t>
          </a:r>
          <a:r>
            <a:rPr lang="ru-RU" sz="2400" b="1" dirty="0" err="1"/>
            <a:t>ФОИВы</a:t>
          </a:r>
          <a:endParaRPr lang="ru-RU" sz="2400" b="1" dirty="0"/>
        </a:p>
      </dgm:t>
    </dgm:pt>
    <dgm:pt modelId="{3038BA1A-64F5-4298-822C-7B1EEDF00751}" type="parTrans" cxnId="{9337B36E-5F64-4E00-BB15-B396B38D11AA}">
      <dgm:prSet/>
      <dgm:spPr/>
      <dgm:t>
        <a:bodyPr/>
        <a:lstStyle/>
        <a:p>
          <a:endParaRPr lang="ru-RU"/>
        </a:p>
      </dgm:t>
    </dgm:pt>
    <dgm:pt modelId="{ACF77901-607C-4E08-8B0D-44327E6F60B3}" type="sibTrans" cxnId="{9337B36E-5F64-4E00-BB15-B396B38D11AA}">
      <dgm:prSet/>
      <dgm:spPr/>
      <dgm:t>
        <a:bodyPr/>
        <a:lstStyle/>
        <a:p>
          <a:endParaRPr lang="ru-RU"/>
        </a:p>
      </dgm:t>
    </dgm:pt>
    <dgm:pt modelId="{5CBDC7E2-F692-486F-B18A-A4C5D425D7DC}">
      <dgm:prSet phldrT="[Текст]" custT="1"/>
      <dgm:spPr/>
      <dgm:t>
        <a:bodyPr/>
        <a:lstStyle/>
        <a:p>
          <a:r>
            <a:rPr lang="ru-RU" sz="2400" b="1" dirty="0"/>
            <a:t>Отбор ФОИВ программ от каждого подведомственного вуза </a:t>
          </a:r>
        </a:p>
      </dgm:t>
    </dgm:pt>
    <dgm:pt modelId="{64C13266-63BA-465D-82D9-9D7AE38B10FA}" type="parTrans" cxnId="{8DA53709-B9C9-43DD-A5A8-7D2E4123F501}">
      <dgm:prSet/>
      <dgm:spPr/>
      <dgm:t>
        <a:bodyPr/>
        <a:lstStyle/>
        <a:p>
          <a:endParaRPr lang="ru-RU"/>
        </a:p>
      </dgm:t>
    </dgm:pt>
    <dgm:pt modelId="{83C60715-ABC2-4554-B884-A0BBDEF0AB84}" type="sibTrans" cxnId="{8DA53709-B9C9-43DD-A5A8-7D2E4123F501}">
      <dgm:prSet/>
      <dgm:spPr/>
      <dgm:t>
        <a:bodyPr/>
        <a:lstStyle/>
        <a:p>
          <a:endParaRPr lang="ru-RU"/>
        </a:p>
      </dgm:t>
    </dgm:pt>
    <dgm:pt modelId="{306D9F81-B7BB-4E23-913F-CD29BF0EC085}">
      <dgm:prSet phldrT="[Текст]" custT="1"/>
      <dgm:spPr/>
      <dgm:t>
        <a:bodyPr/>
        <a:lstStyle/>
        <a:p>
          <a:r>
            <a:rPr lang="ru-RU" sz="2400" b="1" dirty="0"/>
            <a:t>Корректировка перечня  программ вузами в соответствии с критериями </a:t>
          </a:r>
        </a:p>
      </dgm:t>
    </dgm:pt>
    <dgm:pt modelId="{714924B4-E759-4EC9-9906-FD2F0FC0BA8B}" type="parTrans" cxnId="{62C8A3EA-31A7-4521-B0A0-BB4E81EB9553}">
      <dgm:prSet/>
      <dgm:spPr/>
      <dgm:t>
        <a:bodyPr/>
        <a:lstStyle/>
        <a:p>
          <a:endParaRPr lang="ru-RU"/>
        </a:p>
      </dgm:t>
    </dgm:pt>
    <dgm:pt modelId="{ED34C438-94DF-44FA-B79A-94A8799702BD}" type="sibTrans" cxnId="{62C8A3EA-31A7-4521-B0A0-BB4E81EB9553}">
      <dgm:prSet/>
      <dgm:spPr/>
      <dgm:t>
        <a:bodyPr/>
        <a:lstStyle/>
        <a:p>
          <a:endParaRPr lang="ru-RU"/>
        </a:p>
      </dgm:t>
    </dgm:pt>
    <dgm:pt modelId="{9766B3CE-0689-4319-91F7-2AC61281F0F9}" type="pres">
      <dgm:prSet presAssocID="{8C755A43-663A-42C8-8686-780345754BA2}" presName="CompostProcess" presStyleCnt="0">
        <dgm:presLayoutVars>
          <dgm:dir/>
          <dgm:resizeHandles val="exact"/>
        </dgm:presLayoutVars>
      </dgm:prSet>
      <dgm:spPr/>
    </dgm:pt>
    <dgm:pt modelId="{13B450DB-C4FE-48F9-A211-2E9C39C85B2D}" type="pres">
      <dgm:prSet presAssocID="{8C755A43-663A-42C8-8686-780345754BA2}" presName="arrow" presStyleLbl="bgShp" presStyleIdx="0" presStyleCnt="1"/>
      <dgm:spPr/>
    </dgm:pt>
    <dgm:pt modelId="{60FEF961-97F9-4C62-9F26-37FCAD15A385}" type="pres">
      <dgm:prSet presAssocID="{8C755A43-663A-42C8-8686-780345754BA2}" presName="linearProcess" presStyleCnt="0"/>
      <dgm:spPr/>
    </dgm:pt>
    <dgm:pt modelId="{CD0C2FFF-2BF6-478E-B488-175FD1F0D2F6}" type="pres">
      <dgm:prSet presAssocID="{D5C20944-C5B2-4D97-89D3-3654A447158F}" presName="textNode" presStyleLbl="node1" presStyleIdx="0" presStyleCnt="3">
        <dgm:presLayoutVars>
          <dgm:bulletEnabled val="1"/>
        </dgm:presLayoutVars>
      </dgm:prSet>
      <dgm:spPr/>
    </dgm:pt>
    <dgm:pt modelId="{65EEAB1D-E820-4F1A-B470-B062327152EA}" type="pres">
      <dgm:prSet presAssocID="{ACF77901-607C-4E08-8B0D-44327E6F60B3}" presName="sibTrans" presStyleCnt="0"/>
      <dgm:spPr/>
    </dgm:pt>
    <dgm:pt modelId="{6E36094B-D353-4F88-832A-C8622E170C32}" type="pres">
      <dgm:prSet presAssocID="{5CBDC7E2-F692-486F-B18A-A4C5D425D7DC}" presName="textNode" presStyleLbl="node1" presStyleIdx="1" presStyleCnt="3">
        <dgm:presLayoutVars>
          <dgm:bulletEnabled val="1"/>
        </dgm:presLayoutVars>
      </dgm:prSet>
      <dgm:spPr/>
    </dgm:pt>
    <dgm:pt modelId="{3EEF491A-ECA4-4A5C-826D-248B911E95ED}" type="pres">
      <dgm:prSet presAssocID="{83C60715-ABC2-4554-B884-A0BBDEF0AB84}" presName="sibTrans" presStyleCnt="0"/>
      <dgm:spPr/>
    </dgm:pt>
    <dgm:pt modelId="{16B2A145-8ABE-4C1B-A54B-FB553588ABB2}" type="pres">
      <dgm:prSet presAssocID="{306D9F81-B7BB-4E23-913F-CD29BF0EC085}" presName="textNode" presStyleLbl="node1" presStyleIdx="2" presStyleCnt="3" custLinFactNeighborX="6667">
        <dgm:presLayoutVars>
          <dgm:bulletEnabled val="1"/>
        </dgm:presLayoutVars>
      </dgm:prSet>
      <dgm:spPr/>
    </dgm:pt>
  </dgm:ptLst>
  <dgm:cxnLst>
    <dgm:cxn modelId="{8DA53709-B9C9-43DD-A5A8-7D2E4123F501}" srcId="{8C755A43-663A-42C8-8686-780345754BA2}" destId="{5CBDC7E2-F692-486F-B18A-A4C5D425D7DC}" srcOrd="1" destOrd="0" parTransId="{64C13266-63BA-465D-82D9-9D7AE38B10FA}" sibTransId="{83C60715-ABC2-4554-B884-A0BBDEF0AB84}"/>
    <dgm:cxn modelId="{CEC9A62D-9630-43AD-B165-64F619E179A1}" type="presOf" srcId="{D5C20944-C5B2-4D97-89D3-3654A447158F}" destId="{CD0C2FFF-2BF6-478E-B488-175FD1F0D2F6}" srcOrd="0" destOrd="0" presId="urn:microsoft.com/office/officeart/2005/8/layout/hProcess9"/>
    <dgm:cxn modelId="{9337B36E-5F64-4E00-BB15-B396B38D11AA}" srcId="{8C755A43-663A-42C8-8686-780345754BA2}" destId="{D5C20944-C5B2-4D97-89D3-3654A447158F}" srcOrd="0" destOrd="0" parTransId="{3038BA1A-64F5-4298-822C-7B1EEDF00751}" sibTransId="{ACF77901-607C-4E08-8B0D-44327E6F60B3}"/>
    <dgm:cxn modelId="{0DF82697-637F-4DE7-BDC7-3153360EC4CB}" type="presOf" srcId="{8C755A43-663A-42C8-8686-780345754BA2}" destId="{9766B3CE-0689-4319-91F7-2AC61281F0F9}" srcOrd="0" destOrd="0" presId="urn:microsoft.com/office/officeart/2005/8/layout/hProcess9"/>
    <dgm:cxn modelId="{ABDE03E2-C78D-41DC-BFCD-17D44ED7500B}" type="presOf" srcId="{306D9F81-B7BB-4E23-913F-CD29BF0EC085}" destId="{16B2A145-8ABE-4C1B-A54B-FB553588ABB2}" srcOrd="0" destOrd="0" presId="urn:microsoft.com/office/officeart/2005/8/layout/hProcess9"/>
    <dgm:cxn modelId="{62C8A3EA-31A7-4521-B0A0-BB4E81EB9553}" srcId="{8C755A43-663A-42C8-8686-780345754BA2}" destId="{306D9F81-B7BB-4E23-913F-CD29BF0EC085}" srcOrd="2" destOrd="0" parTransId="{714924B4-E759-4EC9-9906-FD2F0FC0BA8B}" sibTransId="{ED34C438-94DF-44FA-B79A-94A8799702BD}"/>
    <dgm:cxn modelId="{9D6358EE-70AD-4DF8-9149-2C48917C92F6}" type="presOf" srcId="{5CBDC7E2-F692-486F-B18A-A4C5D425D7DC}" destId="{6E36094B-D353-4F88-832A-C8622E170C32}" srcOrd="0" destOrd="0" presId="urn:microsoft.com/office/officeart/2005/8/layout/hProcess9"/>
    <dgm:cxn modelId="{DC6EB5B9-F065-4D74-9F62-60A44269DA94}" type="presParOf" srcId="{9766B3CE-0689-4319-91F7-2AC61281F0F9}" destId="{13B450DB-C4FE-48F9-A211-2E9C39C85B2D}" srcOrd="0" destOrd="0" presId="urn:microsoft.com/office/officeart/2005/8/layout/hProcess9"/>
    <dgm:cxn modelId="{5FE4CDE3-DECA-4169-8FD2-E77A29CED7C4}" type="presParOf" srcId="{9766B3CE-0689-4319-91F7-2AC61281F0F9}" destId="{60FEF961-97F9-4C62-9F26-37FCAD15A385}" srcOrd="1" destOrd="0" presId="urn:microsoft.com/office/officeart/2005/8/layout/hProcess9"/>
    <dgm:cxn modelId="{EAA93172-04F3-4D6C-8A0E-1117604CF295}" type="presParOf" srcId="{60FEF961-97F9-4C62-9F26-37FCAD15A385}" destId="{CD0C2FFF-2BF6-478E-B488-175FD1F0D2F6}" srcOrd="0" destOrd="0" presId="urn:microsoft.com/office/officeart/2005/8/layout/hProcess9"/>
    <dgm:cxn modelId="{2D36140E-5318-4365-B653-145DF3B00073}" type="presParOf" srcId="{60FEF961-97F9-4C62-9F26-37FCAD15A385}" destId="{65EEAB1D-E820-4F1A-B470-B062327152EA}" srcOrd="1" destOrd="0" presId="urn:microsoft.com/office/officeart/2005/8/layout/hProcess9"/>
    <dgm:cxn modelId="{53855E9A-AD89-4913-AE29-AEE920DBC2C0}" type="presParOf" srcId="{60FEF961-97F9-4C62-9F26-37FCAD15A385}" destId="{6E36094B-D353-4F88-832A-C8622E170C32}" srcOrd="2" destOrd="0" presId="urn:microsoft.com/office/officeart/2005/8/layout/hProcess9"/>
    <dgm:cxn modelId="{0AF4F53C-53F0-4796-8C40-3D0C1410C8E1}" type="presParOf" srcId="{60FEF961-97F9-4C62-9F26-37FCAD15A385}" destId="{3EEF491A-ECA4-4A5C-826D-248B911E95ED}" srcOrd="3" destOrd="0" presId="urn:microsoft.com/office/officeart/2005/8/layout/hProcess9"/>
    <dgm:cxn modelId="{B1A67BF8-DB5A-488C-806D-2C2731906CE3}" type="presParOf" srcId="{60FEF961-97F9-4C62-9F26-37FCAD15A385}" destId="{16B2A145-8ABE-4C1B-A54B-FB553588ABB2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4E41276-19FE-4B60-AAB1-93BD88381123}" type="doc">
      <dgm:prSet loTypeId="urn:microsoft.com/office/officeart/2005/8/layout/lProcess1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5AA5C4BC-7F45-4E2E-8793-C6A3D1706E6A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Вход </a:t>
          </a:r>
        </a:p>
      </dgm:t>
    </dgm:pt>
    <dgm:pt modelId="{6D3A66F6-3026-463F-8A80-3B8F1E2C44FA}" type="parTrans" cxnId="{282D1C9E-C979-42AE-9D40-8C193D5C21C3}">
      <dgm:prSet/>
      <dgm:spPr/>
      <dgm:t>
        <a:bodyPr/>
        <a:lstStyle/>
        <a:p>
          <a:endParaRPr lang="ru-RU"/>
        </a:p>
      </dgm:t>
    </dgm:pt>
    <dgm:pt modelId="{E314BFD7-7278-4B9C-B7A9-81BA8DA004F9}" type="sibTrans" cxnId="{282D1C9E-C979-42AE-9D40-8C193D5C21C3}">
      <dgm:prSet/>
      <dgm:spPr/>
      <dgm:t>
        <a:bodyPr/>
        <a:lstStyle/>
        <a:p>
          <a:endParaRPr lang="ru-RU"/>
        </a:p>
      </dgm:t>
    </dgm:pt>
    <dgm:pt modelId="{A5514BEE-82B4-4A12-A63E-DD877FD8DFF3}">
      <dgm:prSet phldrT="[Текст]"/>
      <dgm:spPr/>
      <dgm:t>
        <a:bodyPr/>
        <a:lstStyle/>
        <a:p>
          <a:r>
            <a:rPr lang="ru-RU" dirty="0"/>
            <a:t>АП1 -ЕГЭ</a:t>
          </a:r>
        </a:p>
      </dgm:t>
    </dgm:pt>
    <dgm:pt modelId="{EFC70E7C-78A9-4969-BD0B-FF8F0D8115A0}" type="parTrans" cxnId="{BCE17C80-2D0C-4121-B889-A58D22F0F453}">
      <dgm:prSet/>
      <dgm:spPr/>
      <dgm:t>
        <a:bodyPr/>
        <a:lstStyle/>
        <a:p>
          <a:endParaRPr lang="ru-RU"/>
        </a:p>
      </dgm:t>
    </dgm:pt>
    <dgm:pt modelId="{D4185C97-ACC4-4581-A037-98D526CAA559}" type="sibTrans" cxnId="{BCE17C80-2D0C-4121-B889-A58D22F0F453}">
      <dgm:prSet/>
      <dgm:spPr/>
      <dgm:t>
        <a:bodyPr/>
        <a:lstStyle/>
        <a:p>
          <a:endParaRPr lang="ru-RU"/>
        </a:p>
      </dgm:t>
    </dgm:pt>
    <dgm:pt modelId="{D1E76F12-E977-4362-BE5E-D1DD7CD220C8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Условия </a:t>
          </a:r>
        </a:p>
      </dgm:t>
    </dgm:pt>
    <dgm:pt modelId="{6AA70C32-23B8-4260-9946-C9F86B55B228}" type="parTrans" cxnId="{FCA1E1FA-9675-44AD-BE9A-98E4609BDBFE}">
      <dgm:prSet/>
      <dgm:spPr/>
      <dgm:t>
        <a:bodyPr/>
        <a:lstStyle/>
        <a:p>
          <a:endParaRPr lang="ru-RU"/>
        </a:p>
      </dgm:t>
    </dgm:pt>
    <dgm:pt modelId="{7BB1D447-18A0-40AD-81AE-3003AF71C037}" type="sibTrans" cxnId="{FCA1E1FA-9675-44AD-BE9A-98E4609BDBFE}">
      <dgm:prSet/>
      <dgm:spPr/>
      <dgm:t>
        <a:bodyPr/>
        <a:lstStyle/>
        <a:p>
          <a:endParaRPr lang="ru-RU"/>
        </a:p>
      </dgm:t>
    </dgm:pt>
    <dgm:pt modelId="{79E1F29A-A224-404C-9766-ADA8F33A4148}">
      <dgm:prSet phldrT="[Текст]"/>
      <dgm:spPr/>
      <dgm:t>
        <a:bodyPr/>
        <a:lstStyle/>
        <a:p>
          <a:r>
            <a:rPr lang="ru-RU" dirty="0"/>
            <a:t>АП2 - ЭИОС</a:t>
          </a:r>
        </a:p>
      </dgm:t>
    </dgm:pt>
    <dgm:pt modelId="{5CC7ECED-D6E7-420B-BACA-D57C1A00570E}" type="parTrans" cxnId="{9BCB4D62-7E85-4E37-8E1D-C8BFC2973FF9}">
      <dgm:prSet/>
      <dgm:spPr/>
      <dgm:t>
        <a:bodyPr/>
        <a:lstStyle/>
        <a:p>
          <a:endParaRPr lang="ru-RU"/>
        </a:p>
      </dgm:t>
    </dgm:pt>
    <dgm:pt modelId="{6C48E3D3-FD39-4885-9EF9-3DE08349907F}" type="sibTrans" cxnId="{9BCB4D62-7E85-4E37-8E1D-C8BFC2973FF9}">
      <dgm:prSet/>
      <dgm:spPr/>
      <dgm:t>
        <a:bodyPr/>
        <a:lstStyle/>
        <a:p>
          <a:endParaRPr lang="ru-RU"/>
        </a:p>
      </dgm:t>
    </dgm:pt>
    <dgm:pt modelId="{2DEB5DBB-B904-476C-95C5-55650B68E5DE}">
      <dgm:prSet phldrT="[Текст]"/>
      <dgm:spPr/>
      <dgm:t>
        <a:bodyPr/>
        <a:lstStyle/>
        <a:p>
          <a:r>
            <a:rPr lang="ru-RU" dirty="0"/>
            <a:t>АП5 – остепенённость </a:t>
          </a:r>
        </a:p>
      </dgm:t>
    </dgm:pt>
    <dgm:pt modelId="{517D652C-234B-40CA-A4A6-D16BF387E80B}" type="parTrans" cxnId="{88D99EF9-AAE3-471D-B2D2-BA7F00431788}">
      <dgm:prSet/>
      <dgm:spPr/>
      <dgm:t>
        <a:bodyPr/>
        <a:lstStyle/>
        <a:p>
          <a:endParaRPr lang="ru-RU"/>
        </a:p>
      </dgm:t>
    </dgm:pt>
    <dgm:pt modelId="{33ED269D-3E5F-4549-BC99-C55B77AA20D0}" type="sibTrans" cxnId="{88D99EF9-AAE3-471D-B2D2-BA7F00431788}">
      <dgm:prSet/>
      <dgm:spPr/>
      <dgm:t>
        <a:bodyPr/>
        <a:lstStyle/>
        <a:p>
          <a:endParaRPr lang="ru-RU"/>
        </a:p>
      </dgm:t>
    </dgm:pt>
    <dgm:pt modelId="{3D925CD6-2582-4C28-8D6D-3CA82097AE46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Выход</a:t>
          </a:r>
          <a:r>
            <a:rPr lang="ru-RU" dirty="0"/>
            <a:t> </a:t>
          </a:r>
        </a:p>
      </dgm:t>
    </dgm:pt>
    <dgm:pt modelId="{F0128589-5CE4-4022-AF2B-7C5E58EDECC5}" type="parTrans" cxnId="{309E749F-A280-405D-A0D7-F3DCE11AC3DA}">
      <dgm:prSet/>
      <dgm:spPr/>
      <dgm:t>
        <a:bodyPr/>
        <a:lstStyle/>
        <a:p>
          <a:endParaRPr lang="ru-RU"/>
        </a:p>
      </dgm:t>
    </dgm:pt>
    <dgm:pt modelId="{6B6527DE-42E5-42BC-8EA2-D748C89755D3}" type="sibTrans" cxnId="{309E749F-A280-405D-A0D7-F3DCE11AC3DA}">
      <dgm:prSet/>
      <dgm:spPr/>
      <dgm:t>
        <a:bodyPr/>
        <a:lstStyle/>
        <a:p>
          <a:endParaRPr lang="ru-RU"/>
        </a:p>
      </dgm:t>
    </dgm:pt>
    <dgm:pt modelId="{87C2FE46-6AB1-4A8F-8F51-AE2E984A24D9}">
      <dgm:prSet/>
      <dgm:spPr/>
      <dgm:t>
        <a:bodyPr/>
        <a:lstStyle/>
        <a:p>
          <a:r>
            <a:rPr lang="ru-RU" dirty="0"/>
            <a:t>АП3 – сохранность контингента  </a:t>
          </a:r>
        </a:p>
      </dgm:t>
    </dgm:pt>
    <dgm:pt modelId="{A4445DA6-B307-4FB7-95AF-7B4EF7A8646A}" type="parTrans" cxnId="{859FA9B9-9692-405A-9C44-8F99461A7DB7}">
      <dgm:prSet/>
      <dgm:spPr/>
      <dgm:t>
        <a:bodyPr/>
        <a:lstStyle/>
        <a:p>
          <a:endParaRPr lang="ru-RU"/>
        </a:p>
      </dgm:t>
    </dgm:pt>
    <dgm:pt modelId="{E678FF3C-BC58-452D-A3EE-945CB1A28097}" type="sibTrans" cxnId="{859FA9B9-9692-405A-9C44-8F99461A7DB7}">
      <dgm:prSet/>
      <dgm:spPr/>
      <dgm:t>
        <a:bodyPr/>
        <a:lstStyle/>
        <a:p>
          <a:endParaRPr lang="ru-RU"/>
        </a:p>
      </dgm:t>
    </dgm:pt>
    <dgm:pt modelId="{CCFBC90A-934D-4BC7-88DD-71EA34E29D07}">
      <dgm:prSet/>
      <dgm:spPr/>
      <dgm:t>
        <a:bodyPr/>
        <a:lstStyle/>
        <a:p>
          <a:r>
            <a:rPr lang="ru-RU" dirty="0"/>
            <a:t>АП4 – сохранность контингента  целевиков </a:t>
          </a:r>
        </a:p>
      </dgm:t>
    </dgm:pt>
    <dgm:pt modelId="{8D30CEC1-73F9-48DE-85B3-1A0D55A47103}" type="parTrans" cxnId="{E115401A-7DBB-423D-9AF6-3CE3EB7783F2}">
      <dgm:prSet/>
      <dgm:spPr/>
      <dgm:t>
        <a:bodyPr/>
        <a:lstStyle/>
        <a:p>
          <a:endParaRPr lang="ru-RU"/>
        </a:p>
      </dgm:t>
    </dgm:pt>
    <dgm:pt modelId="{C361A6AF-8740-4816-8B5D-8C2A92131FAB}" type="sibTrans" cxnId="{E115401A-7DBB-423D-9AF6-3CE3EB7783F2}">
      <dgm:prSet/>
      <dgm:spPr/>
      <dgm:t>
        <a:bodyPr/>
        <a:lstStyle/>
        <a:p>
          <a:endParaRPr lang="ru-RU"/>
        </a:p>
      </dgm:t>
    </dgm:pt>
    <dgm:pt modelId="{1184C615-2C9B-47F8-A69C-F9F495C2FBF6}">
      <dgm:prSet phldrT="[Текст]"/>
      <dgm:spPr/>
      <dgm:t>
        <a:bodyPr/>
        <a:lstStyle/>
        <a:p>
          <a:r>
            <a:rPr lang="ru-RU" dirty="0"/>
            <a:t>АП1.1 - ДВИ</a:t>
          </a:r>
        </a:p>
      </dgm:t>
    </dgm:pt>
    <dgm:pt modelId="{743B5A79-874D-4572-89CC-B1B9FC0E91C6}" type="sibTrans" cxnId="{6FB6D16A-A787-4419-82F6-B01949D2C751}">
      <dgm:prSet/>
      <dgm:spPr/>
      <dgm:t>
        <a:bodyPr/>
        <a:lstStyle/>
        <a:p>
          <a:endParaRPr lang="ru-RU"/>
        </a:p>
      </dgm:t>
    </dgm:pt>
    <dgm:pt modelId="{AF12637E-0A30-490C-A373-85D6BF519CA1}" type="parTrans" cxnId="{6FB6D16A-A787-4419-82F6-B01949D2C751}">
      <dgm:prSet/>
      <dgm:spPr/>
      <dgm:t>
        <a:bodyPr/>
        <a:lstStyle/>
        <a:p>
          <a:endParaRPr lang="ru-RU"/>
        </a:p>
      </dgm:t>
    </dgm:pt>
    <dgm:pt modelId="{D8C4AF51-1E48-48AD-954F-D99F47D7D958}">
      <dgm:prSet/>
      <dgm:spPr/>
      <dgm:t>
        <a:bodyPr/>
        <a:lstStyle/>
        <a:p>
          <a:r>
            <a:rPr lang="ru-RU" dirty="0"/>
            <a:t>АП8 – трудоустройство </a:t>
          </a:r>
        </a:p>
      </dgm:t>
    </dgm:pt>
    <dgm:pt modelId="{52DEF1A6-680B-4D59-B674-AFAFA646E804}" type="parTrans" cxnId="{9748E5EA-FC91-4668-9696-8A282F8F2363}">
      <dgm:prSet/>
      <dgm:spPr/>
      <dgm:t>
        <a:bodyPr/>
        <a:lstStyle/>
        <a:p>
          <a:endParaRPr lang="ru-RU"/>
        </a:p>
      </dgm:t>
    </dgm:pt>
    <dgm:pt modelId="{9A4B526B-730A-44A1-9319-F159CC395F0F}" type="sibTrans" cxnId="{9748E5EA-FC91-4668-9696-8A282F8F2363}">
      <dgm:prSet/>
      <dgm:spPr/>
      <dgm:t>
        <a:bodyPr/>
        <a:lstStyle/>
        <a:p>
          <a:endParaRPr lang="ru-RU"/>
        </a:p>
      </dgm:t>
    </dgm:pt>
    <dgm:pt modelId="{EC29613E-91F8-4D56-BB1F-70DF851DF688}">
      <dgm:prSet/>
      <dgm:spPr/>
      <dgm:t>
        <a:bodyPr/>
        <a:lstStyle/>
        <a:p>
          <a:r>
            <a:rPr lang="ru-RU" dirty="0"/>
            <a:t>АП6 – представители работодателей </a:t>
          </a:r>
        </a:p>
      </dgm:t>
    </dgm:pt>
    <dgm:pt modelId="{7E61948E-EE52-4C69-8EF8-A06F922CA50E}" type="parTrans" cxnId="{EF4E6B66-9C1C-4C3D-A47E-3118C0CBFF04}">
      <dgm:prSet/>
      <dgm:spPr/>
      <dgm:t>
        <a:bodyPr/>
        <a:lstStyle/>
        <a:p>
          <a:endParaRPr lang="ru-RU"/>
        </a:p>
      </dgm:t>
    </dgm:pt>
    <dgm:pt modelId="{1B570545-E292-41F2-8F28-DE18349ECC79}" type="sibTrans" cxnId="{EF4E6B66-9C1C-4C3D-A47E-3118C0CBFF04}">
      <dgm:prSet/>
      <dgm:spPr/>
      <dgm:t>
        <a:bodyPr/>
        <a:lstStyle/>
        <a:p>
          <a:endParaRPr lang="ru-RU"/>
        </a:p>
      </dgm:t>
    </dgm:pt>
    <dgm:pt modelId="{C6BB2CB8-BDF4-4D6F-A445-00707EDB187D}">
      <dgm:prSet/>
      <dgm:spPr/>
      <dgm:t>
        <a:bodyPr/>
        <a:lstStyle/>
        <a:p>
          <a:r>
            <a:rPr lang="ru-RU" dirty="0"/>
            <a:t>АП7 - ВСОКО</a:t>
          </a:r>
        </a:p>
      </dgm:t>
    </dgm:pt>
    <dgm:pt modelId="{D3CBF9DB-5517-4C1F-B59D-6233ACA11545}" type="parTrans" cxnId="{FBA76113-4820-424D-99D8-B17961822E67}">
      <dgm:prSet/>
      <dgm:spPr/>
      <dgm:t>
        <a:bodyPr/>
        <a:lstStyle/>
        <a:p>
          <a:endParaRPr lang="ru-RU"/>
        </a:p>
      </dgm:t>
    </dgm:pt>
    <dgm:pt modelId="{21F07D2E-99E7-4637-82DE-E3F522BFE61B}" type="sibTrans" cxnId="{FBA76113-4820-424D-99D8-B17961822E67}">
      <dgm:prSet/>
      <dgm:spPr/>
      <dgm:t>
        <a:bodyPr/>
        <a:lstStyle/>
        <a:p>
          <a:endParaRPr lang="ru-RU"/>
        </a:p>
      </dgm:t>
    </dgm:pt>
    <dgm:pt modelId="{1790299A-6F2D-4E74-98F2-EAC9AB473F1A}" type="pres">
      <dgm:prSet presAssocID="{14E41276-19FE-4B60-AAB1-93BD88381123}" presName="Name0" presStyleCnt="0">
        <dgm:presLayoutVars>
          <dgm:dir/>
          <dgm:animLvl val="lvl"/>
          <dgm:resizeHandles val="exact"/>
        </dgm:presLayoutVars>
      </dgm:prSet>
      <dgm:spPr/>
    </dgm:pt>
    <dgm:pt modelId="{C71B0606-621C-4B62-B6C3-68750C9B6BB0}" type="pres">
      <dgm:prSet presAssocID="{5AA5C4BC-7F45-4E2E-8793-C6A3D1706E6A}" presName="vertFlow" presStyleCnt="0"/>
      <dgm:spPr/>
    </dgm:pt>
    <dgm:pt modelId="{ED794EAF-3DDF-4536-9C84-AE6B7B237AE1}" type="pres">
      <dgm:prSet presAssocID="{5AA5C4BC-7F45-4E2E-8793-C6A3D1706E6A}" presName="header" presStyleLbl="node1" presStyleIdx="0" presStyleCnt="3"/>
      <dgm:spPr/>
    </dgm:pt>
    <dgm:pt modelId="{62433DFA-631D-46FA-BC12-CF86931C4687}" type="pres">
      <dgm:prSet presAssocID="{EFC70E7C-78A9-4969-BD0B-FF8F0D8115A0}" presName="parTrans" presStyleLbl="sibTrans2D1" presStyleIdx="0" presStyleCnt="9"/>
      <dgm:spPr/>
    </dgm:pt>
    <dgm:pt modelId="{13EE642A-F45C-4131-875B-D7223C79C28C}" type="pres">
      <dgm:prSet presAssocID="{A5514BEE-82B4-4A12-A63E-DD877FD8DFF3}" presName="child" presStyleLbl="alignAccFollowNode1" presStyleIdx="0" presStyleCnt="9">
        <dgm:presLayoutVars>
          <dgm:chMax val="0"/>
          <dgm:bulletEnabled val="1"/>
        </dgm:presLayoutVars>
      </dgm:prSet>
      <dgm:spPr/>
    </dgm:pt>
    <dgm:pt modelId="{A1C1E71B-C1A8-41E0-871F-0BBDD3C7DE2A}" type="pres">
      <dgm:prSet presAssocID="{D4185C97-ACC4-4581-A037-98D526CAA559}" presName="sibTrans" presStyleLbl="sibTrans2D1" presStyleIdx="1" presStyleCnt="9"/>
      <dgm:spPr/>
    </dgm:pt>
    <dgm:pt modelId="{222FEAB6-83B4-4A2B-AA9E-F4245719E1FA}" type="pres">
      <dgm:prSet presAssocID="{1184C615-2C9B-47F8-A69C-F9F495C2FBF6}" presName="child" presStyleLbl="alignAccFollowNode1" presStyleIdx="1" presStyleCnt="9">
        <dgm:presLayoutVars>
          <dgm:chMax val="0"/>
          <dgm:bulletEnabled val="1"/>
        </dgm:presLayoutVars>
      </dgm:prSet>
      <dgm:spPr/>
    </dgm:pt>
    <dgm:pt modelId="{78F1B97C-63C8-4C71-8129-DAE8145B1737}" type="pres">
      <dgm:prSet presAssocID="{5AA5C4BC-7F45-4E2E-8793-C6A3D1706E6A}" presName="hSp" presStyleCnt="0"/>
      <dgm:spPr/>
    </dgm:pt>
    <dgm:pt modelId="{B8C19C79-7404-4DEF-A520-E7B9EDE342F5}" type="pres">
      <dgm:prSet presAssocID="{D1E76F12-E977-4362-BE5E-D1DD7CD220C8}" presName="vertFlow" presStyleCnt="0"/>
      <dgm:spPr/>
    </dgm:pt>
    <dgm:pt modelId="{0832EC4A-D30A-4700-BE4D-00D4E333979B}" type="pres">
      <dgm:prSet presAssocID="{D1E76F12-E977-4362-BE5E-D1DD7CD220C8}" presName="header" presStyleLbl="node1" presStyleIdx="1" presStyleCnt="3"/>
      <dgm:spPr/>
    </dgm:pt>
    <dgm:pt modelId="{C9A9EE7F-5792-4C4E-A0D4-E0CD0AB1CE8A}" type="pres">
      <dgm:prSet presAssocID="{5CC7ECED-D6E7-420B-BACA-D57C1A00570E}" presName="parTrans" presStyleLbl="sibTrans2D1" presStyleIdx="2" presStyleCnt="9"/>
      <dgm:spPr/>
    </dgm:pt>
    <dgm:pt modelId="{8E7DEA97-9E66-4CEF-882B-2F108B75594F}" type="pres">
      <dgm:prSet presAssocID="{79E1F29A-A224-404C-9766-ADA8F33A4148}" presName="child" presStyleLbl="alignAccFollowNode1" presStyleIdx="2" presStyleCnt="9">
        <dgm:presLayoutVars>
          <dgm:chMax val="0"/>
          <dgm:bulletEnabled val="1"/>
        </dgm:presLayoutVars>
      </dgm:prSet>
      <dgm:spPr/>
    </dgm:pt>
    <dgm:pt modelId="{E1E62B12-4756-448E-B09A-F18787E64D95}" type="pres">
      <dgm:prSet presAssocID="{6C48E3D3-FD39-4885-9EF9-3DE08349907F}" presName="sibTrans" presStyleLbl="sibTrans2D1" presStyleIdx="3" presStyleCnt="9"/>
      <dgm:spPr/>
    </dgm:pt>
    <dgm:pt modelId="{442521A3-179D-4C87-8E7F-8F17CB07DE8C}" type="pres">
      <dgm:prSet presAssocID="{2DEB5DBB-B904-476C-95C5-55650B68E5DE}" presName="child" presStyleLbl="alignAccFollowNode1" presStyleIdx="3" presStyleCnt="9" custLinFactNeighborY="2443">
        <dgm:presLayoutVars>
          <dgm:chMax val="0"/>
          <dgm:bulletEnabled val="1"/>
        </dgm:presLayoutVars>
      </dgm:prSet>
      <dgm:spPr/>
    </dgm:pt>
    <dgm:pt modelId="{CCEB2555-0104-4052-9E5A-6E1AA1D1EAB4}" type="pres">
      <dgm:prSet presAssocID="{33ED269D-3E5F-4549-BC99-C55B77AA20D0}" presName="sibTrans" presStyleLbl="sibTrans2D1" presStyleIdx="4" presStyleCnt="9"/>
      <dgm:spPr/>
    </dgm:pt>
    <dgm:pt modelId="{0E8242F6-F7FC-41FE-B2F3-48FE134F8322}" type="pres">
      <dgm:prSet presAssocID="{EC29613E-91F8-4D56-BB1F-70DF851DF688}" presName="child" presStyleLbl="alignAccFollowNode1" presStyleIdx="4" presStyleCnt="9">
        <dgm:presLayoutVars>
          <dgm:chMax val="0"/>
          <dgm:bulletEnabled val="1"/>
        </dgm:presLayoutVars>
      </dgm:prSet>
      <dgm:spPr/>
    </dgm:pt>
    <dgm:pt modelId="{DF70430B-EA16-4C2F-B55A-E60C2B1FBC84}" type="pres">
      <dgm:prSet presAssocID="{1B570545-E292-41F2-8F28-DE18349ECC79}" presName="sibTrans" presStyleLbl="sibTrans2D1" presStyleIdx="5" presStyleCnt="9"/>
      <dgm:spPr/>
    </dgm:pt>
    <dgm:pt modelId="{36732BD9-5E5C-4BBF-AFA3-DEFE7705BB1C}" type="pres">
      <dgm:prSet presAssocID="{C6BB2CB8-BDF4-4D6F-A445-00707EDB187D}" presName="child" presStyleLbl="alignAccFollowNode1" presStyleIdx="5" presStyleCnt="9">
        <dgm:presLayoutVars>
          <dgm:chMax val="0"/>
          <dgm:bulletEnabled val="1"/>
        </dgm:presLayoutVars>
      </dgm:prSet>
      <dgm:spPr/>
    </dgm:pt>
    <dgm:pt modelId="{8BF30B88-F7DB-4388-B5D7-5B4A371770B7}" type="pres">
      <dgm:prSet presAssocID="{D1E76F12-E977-4362-BE5E-D1DD7CD220C8}" presName="hSp" presStyleCnt="0"/>
      <dgm:spPr/>
    </dgm:pt>
    <dgm:pt modelId="{FE3ACBDE-035A-4353-82FF-852E46FE1B8A}" type="pres">
      <dgm:prSet presAssocID="{3D925CD6-2582-4C28-8D6D-3CA82097AE46}" presName="vertFlow" presStyleCnt="0"/>
      <dgm:spPr/>
    </dgm:pt>
    <dgm:pt modelId="{DAC741A5-1767-4019-894E-E3C8D7D17E4A}" type="pres">
      <dgm:prSet presAssocID="{3D925CD6-2582-4C28-8D6D-3CA82097AE46}" presName="header" presStyleLbl="node1" presStyleIdx="2" presStyleCnt="3"/>
      <dgm:spPr/>
    </dgm:pt>
    <dgm:pt modelId="{4C520314-A82C-4895-AB2E-F3F8AE1A4089}" type="pres">
      <dgm:prSet presAssocID="{A4445DA6-B307-4FB7-95AF-7B4EF7A8646A}" presName="parTrans" presStyleLbl="sibTrans2D1" presStyleIdx="6" presStyleCnt="9"/>
      <dgm:spPr/>
    </dgm:pt>
    <dgm:pt modelId="{621C0B07-CA04-4E88-B2FF-88CD6553FFE7}" type="pres">
      <dgm:prSet presAssocID="{87C2FE46-6AB1-4A8F-8F51-AE2E984A24D9}" presName="child" presStyleLbl="alignAccFollowNode1" presStyleIdx="6" presStyleCnt="9">
        <dgm:presLayoutVars>
          <dgm:chMax val="0"/>
          <dgm:bulletEnabled val="1"/>
        </dgm:presLayoutVars>
      </dgm:prSet>
      <dgm:spPr/>
    </dgm:pt>
    <dgm:pt modelId="{7082EBFB-FD7D-4253-82C2-E3D40D3CD3D4}" type="pres">
      <dgm:prSet presAssocID="{E678FF3C-BC58-452D-A3EE-945CB1A28097}" presName="sibTrans" presStyleLbl="sibTrans2D1" presStyleIdx="7" presStyleCnt="9"/>
      <dgm:spPr/>
    </dgm:pt>
    <dgm:pt modelId="{38BAB806-D7C3-4B11-B3FB-E44658DC5B1C}" type="pres">
      <dgm:prSet presAssocID="{CCFBC90A-934D-4BC7-88DD-71EA34E29D07}" presName="child" presStyleLbl="alignAccFollowNode1" presStyleIdx="7" presStyleCnt="9">
        <dgm:presLayoutVars>
          <dgm:chMax val="0"/>
          <dgm:bulletEnabled val="1"/>
        </dgm:presLayoutVars>
      </dgm:prSet>
      <dgm:spPr/>
    </dgm:pt>
    <dgm:pt modelId="{7CA49CD7-5FA9-4135-A28D-07A82B67029F}" type="pres">
      <dgm:prSet presAssocID="{C361A6AF-8740-4816-8B5D-8C2A92131FAB}" presName="sibTrans" presStyleLbl="sibTrans2D1" presStyleIdx="8" presStyleCnt="9"/>
      <dgm:spPr/>
    </dgm:pt>
    <dgm:pt modelId="{08A0EC1F-6D3B-4DCA-BC63-31834ABC14D5}" type="pres">
      <dgm:prSet presAssocID="{D8C4AF51-1E48-48AD-954F-D99F47D7D958}" presName="child" presStyleLbl="alignAccFollowNode1" presStyleIdx="8" presStyleCnt="9">
        <dgm:presLayoutVars>
          <dgm:chMax val="0"/>
          <dgm:bulletEnabled val="1"/>
        </dgm:presLayoutVars>
      </dgm:prSet>
      <dgm:spPr/>
    </dgm:pt>
  </dgm:ptLst>
  <dgm:cxnLst>
    <dgm:cxn modelId="{FBA76113-4820-424D-99D8-B17961822E67}" srcId="{D1E76F12-E977-4362-BE5E-D1DD7CD220C8}" destId="{C6BB2CB8-BDF4-4D6F-A445-00707EDB187D}" srcOrd="3" destOrd="0" parTransId="{D3CBF9DB-5517-4C1F-B59D-6233ACA11545}" sibTransId="{21F07D2E-99E7-4637-82DE-E3F522BFE61B}"/>
    <dgm:cxn modelId="{090E0015-5047-485C-B02E-24A51F1C7F49}" type="presOf" srcId="{D8C4AF51-1E48-48AD-954F-D99F47D7D958}" destId="{08A0EC1F-6D3B-4DCA-BC63-31834ABC14D5}" srcOrd="0" destOrd="0" presId="urn:microsoft.com/office/officeart/2005/8/layout/lProcess1"/>
    <dgm:cxn modelId="{B0136E16-9C98-4638-831C-4E538300632A}" type="presOf" srcId="{EFC70E7C-78A9-4969-BD0B-FF8F0D8115A0}" destId="{62433DFA-631D-46FA-BC12-CF86931C4687}" srcOrd="0" destOrd="0" presId="urn:microsoft.com/office/officeart/2005/8/layout/lProcess1"/>
    <dgm:cxn modelId="{E115401A-7DBB-423D-9AF6-3CE3EB7783F2}" srcId="{3D925CD6-2582-4C28-8D6D-3CA82097AE46}" destId="{CCFBC90A-934D-4BC7-88DD-71EA34E29D07}" srcOrd="1" destOrd="0" parTransId="{8D30CEC1-73F9-48DE-85B3-1A0D55A47103}" sibTransId="{C361A6AF-8740-4816-8B5D-8C2A92131FAB}"/>
    <dgm:cxn modelId="{DF3BF31C-9EF3-4148-B4AD-2D447B615E6C}" type="presOf" srcId="{3D925CD6-2582-4C28-8D6D-3CA82097AE46}" destId="{DAC741A5-1767-4019-894E-E3C8D7D17E4A}" srcOrd="0" destOrd="0" presId="urn:microsoft.com/office/officeart/2005/8/layout/lProcess1"/>
    <dgm:cxn modelId="{5C9D6827-A21F-4F8F-81BD-C8FBF2CBC290}" type="presOf" srcId="{A5514BEE-82B4-4A12-A63E-DD877FD8DFF3}" destId="{13EE642A-F45C-4131-875B-D7223C79C28C}" srcOrd="0" destOrd="0" presId="urn:microsoft.com/office/officeart/2005/8/layout/lProcess1"/>
    <dgm:cxn modelId="{26DB5D2B-4D5D-4B8E-A612-2E60DC23E5AA}" type="presOf" srcId="{5CC7ECED-D6E7-420B-BACA-D57C1A00570E}" destId="{C9A9EE7F-5792-4C4E-A0D4-E0CD0AB1CE8A}" srcOrd="0" destOrd="0" presId="urn:microsoft.com/office/officeart/2005/8/layout/lProcess1"/>
    <dgm:cxn modelId="{01E5155C-4070-4C54-97E5-18CF93B4D2B7}" type="presOf" srcId="{2DEB5DBB-B904-476C-95C5-55650B68E5DE}" destId="{442521A3-179D-4C87-8E7F-8F17CB07DE8C}" srcOrd="0" destOrd="0" presId="urn:microsoft.com/office/officeart/2005/8/layout/lProcess1"/>
    <dgm:cxn modelId="{EDDB0241-2CD3-4211-B7E0-2DC1A3231B45}" type="presOf" srcId="{1184C615-2C9B-47F8-A69C-F9F495C2FBF6}" destId="{222FEAB6-83B4-4A2B-AA9E-F4245719E1FA}" srcOrd="0" destOrd="0" presId="urn:microsoft.com/office/officeart/2005/8/layout/lProcess1"/>
    <dgm:cxn modelId="{9BCB4D62-7E85-4E37-8E1D-C8BFC2973FF9}" srcId="{D1E76F12-E977-4362-BE5E-D1DD7CD220C8}" destId="{79E1F29A-A224-404C-9766-ADA8F33A4148}" srcOrd="0" destOrd="0" parTransId="{5CC7ECED-D6E7-420B-BACA-D57C1A00570E}" sibTransId="{6C48E3D3-FD39-4885-9EF9-3DE08349907F}"/>
    <dgm:cxn modelId="{006A4D43-4436-4E7F-A751-86E09FA9DB58}" type="presOf" srcId="{CCFBC90A-934D-4BC7-88DD-71EA34E29D07}" destId="{38BAB806-D7C3-4B11-B3FB-E44658DC5B1C}" srcOrd="0" destOrd="0" presId="urn:microsoft.com/office/officeart/2005/8/layout/lProcess1"/>
    <dgm:cxn modelId="{EF4E6B66-9C1C-4C3D-A47E-3118C0CBFF04}" srcId="{D1E76F12-E977-4362-BE5E-D1DD7CD220C8}" destId="{EC29613E-91F8-4D56-BB1F-70DF851DF688}" srcOrd="2" destOrd="0" parTransId="{7E61948E-EE52-4C69-8EF8-A06F922CA50E}" sibTransId="{1B570545-E292-41F2-8F28-DE18349ECC79}"/>
    <dgm:cxn modelId="{F474B049-17ED-4805-8C9B-6F5F12F18A58}" type="presOf" srcId="{E678FF3C-BC58-452D-A3EE-945CB1A28097}" destId="{7082EBFB-FD7D-4253-82C2-E3D40D3CD3D4}" srcOrd="0" destOrd="0" presId="urn:microsoft.com/office/officeart/2005/8/layout/lProcess1"/>
    <dgm:cxn modelId="{6FB6D16A-A787-4419-82F6-B01949D2C751}" srcId="{5AA5C4BC-7F45-4E2E-8793-C6A3D1706E6A}" destId="{1184C615-2C9B-47F8-A69C-F9F495C2FBF6}" srcOrd="1" destOrd="0" parTransId="{AF12637E-0A30-490C-A373-85D6BF519CA1}" sibTransId="{743B5A79-874D-4572-89CC-B1B9FC0E91C6}"/>
    <dgm:cxn modelId="{B9F7DC72-F9E6-403C-9493-75C4741BEE1B}" type="presOf" srcId="{6C48E3D3-FD39-4885-9EF9-3DE08349907F}" destId="{E1E62B12-4756-448E-B09A-F18787E64D95}" srcOrd="0" destOrd="0" presId="urn:microsoft.com/office/officeart/2005/8/layout/lProcess1"/>
    <dgm:cxn modelId="{6B196754-EE6A-4098-819E-46B0AA8272BA}" type="presOf" srcId="{EC29613E-91F8-4D56-BB1F-70DF851DF688}" destId="{0E8242F6-F7FC-41FE-B2F3-48FE134F8322}" srcOrd="0" destOrd="0" presId="urn:microsoft.com/office/officeart/2005/8/layout/lProcess1"/>
    <dgm:cxn modelId="{BCE17C80-2D0C-4121-B889-A58D22F0F453}" srcId="{5AA5C4BC-7F45-4E2E-8793-C6A3D1706E6A}" destId="{A5514BEE-82B4-4A12-A63E-DD877FD8DFF3}" srcOrd="0" destOrd="0" parTransId="{EFC70E7C-78A9-4969-BD0B-FF8F0D8115A0}" sibTransId="{D4185C97-ACC4-4581-A037-98D526CAA559}"/>
    <dgm:cxn modelId="{B154F58A-CDAC-4DFC-B504-6FF78D291D11}" type="presOf" srcId="{79E1F29A-A224-404C-9766-ADA8F33A4148}" destId="{8E7DEA97-9E66-4CEF-882B-2F108B75594F}" srcOrd="0" destOrd="0" presId="urn:microsoft.com/office/officeart/2005/8/layout/lProcess1"/>
    <dgm:cxn modelId="{3D966591-BC20-4473-BF97-7F730D84437B}" type="presOf" srcId="{D4185C97-ACC4-4581-A037-98D526CAA559}" destId="{A1C1E71B-C1A8-41E0-871F-0BBDD3C7DE2A}" srcOrd="0" destOrd="0" presId="urn:microsoft.com/office/officeart/2005/8/layout/lProcess1"/>
    <dgm:cxn modelId="{282D1C9E-C979-42AE-9D40-8C193D5C21C3}" srcId="{14E41276-19FE-4B60-AAB1-93BD88381123}" destId="{5AA5C4BC-7F45-4E2E-8793-C6A3D1706E6A}" srcOrd="0" destOrd="0" parTransId="{6D3A66F6-3026-463F-8A80-3B8F1E2C44FA}" sibTransId="{E314BFD7-7278-4B9C-B7A9-81BA8DA004F9}"/>
    <dgm:cxn modelId="{309E749F-A280-405D-A0D7-F3DCE11AC3DA}" srcId="{14E41276-19FE-4B60-AAB1-93BD88381123}" destId="{3D925CD6-2582-4C28-8D6D-3CA82097AE46}" srcOrd="2" destOrd="0" parTransId="{F0128589-5CE4-4022-AF2B-7C5E58EDECC5}" sibTransId="{6B6527DE-42E5-42BC-8EA2-D748C89755D3}"/>
    <dgm:cxn modelId="{989C7BB2-271A-4EA3-A8C9-F869AE307D77}" type="presOf" srcId="{87C2FE46-6AB1-4A8F-8F51-AE2E984A24D9}" destId="{621C0B07-CA04-4E88-B2FF-88CD6553FFE7}" srcOrd="0" destOrd="0" presId="urn:microsoft.com/office/officeart/2005/8/layout/lProcess1"/>
    <dgm:cxn modelId="{5B4269B3-F077-403A-9F03-D7578AC0D80D}" type="presOf" srcId="{D1E76F12-E977-4362-BE5E-D1DD7CD220C8}" destId="{0832EC4A-D30A-4700-BE4D-00D4E333979B}" srcOrd="0" destOrd="0" presId="urn:microsoft.com/office/officeart/2005/8/layout/lProcess1"/>
    <dgm:cxn modelId="{90289CB7-AB7A-4E01-ACAA-45D502E87606}" type="presOf" srcId="{C361A6AF-8740-4816-8B5D-8C2A92131FAB}" destId="{7CA49CD7-5FA9-4135-A28D-07A82B67029F}" srcOrd="0" destOrd="0" presId="urn:microsoft.com/office/officeart/2005/8/layout/lProcess1"/>
    <dgm:cxn modelId="{859FA9B9-9692-405A-9C44-8F99461A7DB7}" srcId="{3D925CD6-2582-4C28-8D6D-3CA82097AE46}" destId="{87C2FE46-6AB1-4A8F-8F51-AE2E984A24D9}" srcOrd="0" destOrd="0" parTransId="{A4445DA6-B307-4FB7-95AF-7B4EF7A8646A}" sibTransId="{E678FF3C-BC58-452D-A3EE-945CB1A28097}"/>
    <dgm:cxn modelId="{9ECEDDCA-D7EE-4113-8FD6-B9595E610F90}" type="presOf" srcId="{14E41276-19FE-4B60-AAB1-93BD88381123}" destId="{1790299A-6F2D-4E74-98F2-EAC9AB473F1A}" srcOrd="0" destOrd="0" presId="urn:microsoft.com/office/officeart/2005/8/layout/lProcess1"/>
    <dgm:cxn modelId="{B0B73CD6-D2D2-45A0-9AE2-1B6BED0A5B00}" type="presOf" srcId="{A4445DA6-B307-4FB7-95AF-7B4EF7A8646A}" destId="{4C520314-A82C-4895-AB2E-F3F8AE1A4089}" srcOrd="0" destOrd="0" presId="urn:microsoft.com/office/officeart/2005/8/layout/lProcess1"/>
    <dgm:cxn modelId="{211643DD-7315-4AB2-AA93-60EE8E9F1582}" type="presOf" srcId="{C6BB2CB8-BDF4-4D6F-A445-00707EDB187D}" destId="{36732BD9-5E5C-4BBF-AFA3-DEFE7705BB1C}" srcOrd="0" destOrd="0" presId="urn:microsoft.com/office/officeart/2005/8/layout/lProcess1"/>
    <dgm:cxn modelId="{6657ADDD-DE1C-4367-AB7E-19DA69DC0CB1}" type="presOf" srcId="{5AA5C4BC-7F45-4E2E-8793-C6A3D1706E6A}" destId="{ED794EAF-3DDF-4536-9C84-AE6B7B237AE1}" srcOrd="0" destOrd="0" presId="urn:microsoft.com/office/officeart/2005/8/layout/lProcess1"/>
    <dgm:cxn modelId="{9748E5EA-FC91-4668-9696-8A282F8F2363}" srcId="{3D925CD6-2582-4C28-8D6D-3CA82097AE46}" destId="{D8C4AF51-1E48-48AD-954F-D99F47D7D958}" srcOrd="2" destOrd="0" parTransId="{52DEF1A6-680B-4D59-B674-AFAFA646E804}" sibTransId="{9A4B526B-730A-44A1-9319-F159CC395F0F}"/>
    <dgm:cxn modelId="{3D913CEF-0613-444D-A750-A74EBFD9E7A4}" type="presOf" srcId="{1B570545-E292-41F2-8F28-DE18349ECC79}" destId="{DF70430B-EA16-4C2F-B55A-E60C2B1FBC84}" srcOrd="0" destOrd="0" presId="urn:microsoft.com/office/officeart/2005/8/layout/lProcess1"/>
    <dgm:cxn modelId="{88D99EF9-AAE3-471D-B2D2-BA7F00431788}" srcId="{D1E76F12-E977-4362-BE5E-D1DD7CD220C8}" destId="{2DEB5DBB-B904-476C-95C5-55650B68E5DE}" srcOrd="1" destOrd="0" parTransId="{517D652C-234B-40CA-A4A6-D16BF387E80B}" sibTransId="{33ED269D-3E5F-4549-BC99-C55B77AA20D0}"/>
    <dgm:cxn modelId="{FCA1E1FA-9675-44AD-BE9A-98E4609BDBFE}" srcId="{14E41276-19FE-4B60-AAB1-93BD88381123}" destId="{D1E76F12-E977-4362-BE5E-D1DD7CD220C8}" srcOrd="1" destOrd="0" parTransId="{6AA70C32-23B8-4260-9946-C9F86B55B228}" sibTransId="{7BB1D447-18A0-40AD-81AE-3003AF71C037}"/>
    <dgm:cxn modelId="{895EA2FB-B1AC-4D5F-B629-348C1269693E}" type="presOf" srcId="{33ED269D-3E5F-4549-BC99-C55B77AA20D0}" destId="{CCEB2555-0104-4052-9E5A-6E1AA1D1EAB4}" srcOrd="0" destOrd="0" presId="urn:microsoft.com/office/officeart/2005/8/layout/lProcess1"/>
    <dgm:cxn modelId="{00902DFE-86AF-4B6A-AAEC-8489827DEB83}" type="presParOf" srcId="{1790299A-6F2D-4E74-98F2-EAC9AB473F1A}" destId="{C71B0606-621C-4B62-B6C3-68750C9B6BB0}" srcOrd="0" destOrd="0" presId="urn:microsoft.com/office/officeart/2005/8/layout/lProcess1"/>
    <dgm:cxn modelId="{BA824C6D-73CD-4B5A-85AF-CCCC96D21228}" type="presParOf" srcId="{C71B0606-621C-4B62-B6C3-68750C9B6BB0}" destId="{ED794EAF-3DDF-4536-9C84-AE6B7B237AE1}" srcOrd="0" destOrd="0" presId="urn:microsoft.com/office/officeart/2005/8/layout/lProcess1"/>
    <dgm:cxn modelId="{D1639746-59FE-48FB-80AF-183FCE6DB082}" type="presParOf" srcId="{C71B0606-621C-4B62-B6C3-68750C9B6BB0}" destId="{62433DFA-631D-46FA-BC12-CF86931C4687}" srcOrd="1" destOrd="0" presId="urn:microsoft.com/office/officeart/2005/8/layout/lProcess1"/>
    <dgm:cxn modelId="{C3402E8C-C9E7-4E18-8F77-F3D92BD9D2E8}" type="presParOf" srcId="{C71B0606-621C-4B62-B6C3-68750C9B6BB0}" destId="{13EE642A-F45C-4131-875B-D7223C79C28C}" srcOrd="2" destOrd="0" presId="urn:microsoft.com/office/officeart/2005/8/layout/lProcess1"/>
    <dgm:cxn modelId="{D54331BD-C1B4-473F-B14D-D7655B8CBED0}" type="presParOf" srcId="{C71B0606-621C-4B62-B6C3-68750C9B6BB0}" destId="{A1C1E71B-C1A8-41E0-871F-0BBDD3C7DE2A}" srcOrd="3" destOrd="0" presId="urn:microsoft.com/office/officeart/2005/8/layout/lProcess1"/>
    <dgm:cxn modelId="{D6DE3ECB-D519-42D6-A0C3-CF28A3A52D80}" type="presParOf" srcId="{C71B0606-621C-4B62-B6C3-68750C9B6BB0}" destId="{222FEAB6-83B4-4A2B-AA9E-F4245719E1FA}" srcOrd="4" destOrd="0" presId="urn:microsoft.com/office/officeart/2005/8/layout/lProcess1"/>
    <dgm:cxn modelId="{CC5E986F-FA99-47B6-A752-488E970248A0}" type="presParOf" srcId="{1790299A-6F2D-4E74-98F2-EAC9AB473F1A}" destId="{78F1B97C-63C8-4C71-8129-DAE8145B1737}" srcOrd="1" destOrd="0" presId="urn:microsoft.com/office/officeart/2005/8/layout/lProcess1"/>
    <dgm:cxn modelId="{CED9D1F4-625A-49F4-9E13-67903D88A29B}" type="presParOf" srcId="{1790299A-6F2D-4E74-98F2-EAC9AB473F1A}" destId="{B8C19C79-7404-4DEF-A520-E7B9EDE342F5}" srcOrd="2" destOrd="0" presId="urn:microsoft.com/office/officeart/2005/8/layout/lProcess1"/>
    <dgm:cxn modelId="{89589BA6-2173-4943-A9B8-E30C62D6FB3C}" type="presParOf" srcId="{B8C19C79-7404-4DEF-A520-E7B9EDE342F5}" destId="{0832EC4A-D30A-4700-BE4D-00D4E333979B}" srcOrd="0" destOrd="0" presId="urn:microsoft.com/office/officeart/2005/8/layout/lProcess1"/>
    <dgm:cxn modelId="{C1A77F38-733D-4500-8A9B-AB8CEFE7197A}" type="presParOf" srcId="{B8C19C79-7404-4DEF-A520-E7B9EDE342F5}" destId="{C9A9EE7F-5792-4C4E-A0D4-E0CD0AB1CE8A}" srcOrd="1" destOrd="0" presId="urn:microsoft.com/office/officeart/2005/8/layout/lProcess1"/>
    <dgm:cxn modelId="{FF24ADC7-D313-48A8-A18D-870FF3C6A083}" type="presParOf" srcId="{B8C19C79-7404-4DEF-A520-E7B9EDE342F5}" destId="{8E7DEA97-9E66-4CEF-882B-2F108B75594F}" srcOrd="2" destOrd="0" presId="urn:microsoft.com/office/officeart/2005/8/layout/lProcess1"/>
    <dgm:cxn modelId="{B753848D-1361-4FFA-86DD-988BA4A04825}" type="presParOf" srcId="{B8C19C79-7404-4DEF-A520-E7B9EDE342F5}" destId="{E1E62B12-4756-448E-B09A-F18787E64D95}" srcOrd="3" destOrd="0" presId="urn:microsoft.com/office/officeart/2005/8/layout/lProcess1"/>
    <dgm:cxn modelId="{4E90B97D-C9FE-43A9-9723-970A8D8E7ED4}" type="presParOf" srcId="{B8C19C79-7404-4DEF-A520-E7B9EDE342F5}" destId="{442521A3-179D-4C87-8E7F-8F17CB07DE8C}" srcOrd="4" destOrd="0" presId="urn:microsoft.com/office/officeart/2005/8/layout/lProcess1"/>
    <dgm:cxn modelId="{3A506FA7-8E26-4F5D-A146-073CB0074088}" type="presParOf" srcId="{B8C19C79-7404-4DEF-A520-E7B9EDE342F5}" destId="{CCEB2555-0104-4052-9E5A-6E1AA1D1EAB4}" srcOrd="5" destOrd="0" presId="urn:microsoft.com/office/officeart/2005/8/layout/lProcess1"/>
    <dgm:cxn modelId="{954F196D-2BE8-4168-815B-B2F595F29D6B}" type="presParOf" srcId="{B8C19C79-7404-4DEF-A520-E7B9EDE342F5}" destId="{0E8242F6-F7FC-41FE-B2F3-48FE134F8322}" srcOrd="6" destOrd="0" presId="urn:microsoft.com/office/officeart/2005/8/layout/lProcess1"/>
    <dgm:cxn modelId="{CE5369BB-64D4-4E98-BC05-6032B45C949F}" type="presParOf" srcId="{B8C19C79-7404-4DEF-A520-E7B9EDE342F5}" destId="{DF70430B-EA16-4C2F-B55A-E60C2B1FBC84}" srcOrd="7" destOrd="0" presId="urn:microsoft.com/office/officeart/2005/8/layout/lProcess1"/>
    <dgm:cxn modelId="{B1B2AE16-E472-4E4C-ABAE-F8BE9886C55F}" type="presParOf" srcId="{B8C19C79-7404-4DEF-A520-E7B9EDE342F5}" destId="{36732BD9-5E5C-4BBF-AFA3-DEFE7705BB1C}" srcOrd="8" destOrd="0" presId="urn:microsoft.com/office/officeart/2005/8/layout/lProcess1"/>
    <dgm:cxn modelId="{C97AEB7F-DBC8-4776-8249-EEE2E7A73356}" type="presParOf" srcId="{1790299A-6F2D-4E74-98F2-EAC9AB473F1A}" destId="{8BF30B88-F7DB-4388-B5D7-5B4A371770B7}" srcOrd="3" destOrd="0" presId="urn:microsoft.com/office/officeart/2005/8/layout/lProcess1"/>
    <dgm:cxn modelId="{9F78CD16-619C-4A75-AFE9-AFD18C31FE4D}" type="presParOf" srcId="{1790299A-6F2D-4E74-98F2-EAC9AB473F1A}" destId="{FE3ACBDE-035A-4353-82FF-852E46FE1B8A}" srcOrd="4" destOrd="0" presId="urn:microsoft.com/office/officeart/2005/8/layout/lProcess1"/>
    <dgm:cxn modelId="{23A00FF2-5043-4443-9A20-422E37A6AEFB}" type="presParOf" srcId="{FE3ACBDE-035A-4353-82FF-852E46FE1B8A}" destId="{DAC741A5-1767-4019-894E-E3C8D7D17E4A}" srcOrd="0" destOrd="0" presId="urn:microsoft.com/office/officeart/2005/8/layout/lProcess1"/>
    <dgm:cxn modelId="{80AB1508-246C-4C84-8010-0F3A59713E62}" type="presParOf" srcId="{FE3ACBDE-035A-4353-82FF-852E46FE1B8A}" destId="{4C520314-A82C-4895-AB2E-F3F8AE1A4089}" srcOrd="1" destOrd="0" presId="urn:microsoft.com/office/officeart/2005/8/layout/lProcess1"/>
    <dgm:cxn modelId="{DA0AA07B-5F8C-48D9-AA46-3AD1921C738A}" type="presParOf" srcId="{FE3ACBDE-035A-4353-82FF-852E46FE1B8A}" destId="{621C0B07-CA04-4E88-B2FF-88CD6553FFE7}" srcOrd="2" destOrd="0" presId="urn:microsoft.com/office/officeart/2005/8/layout/lProcess1"/>
    <dgm:cxn modelId="{6EE8E073-4130-4E94-9D1B-951DC171F447}" type="presParOf" srcId="{FE3ACBDE-035A-4353-82FF-852E46FE1B8A}" destId="{7082EBFB-FD7D-4253-82C2-E3D40D3CD3D4}" srcOrd="3" destOrd="0" presId="urn:microsoft.com/office/officeart/2005/8/layout/lProcess1"/>
    <dgm:cxn modelId="{DDBF09C5-29E9-4C4C-8B69-50124DF56E2C}" type="presParOf" srcId="{FE3ACBDE-035A-4353-82FF-852E46FE1B8A}" destId="{38BAB806-D7C3-4B11-B3FB-E44658DC5B1C}" srcOrd="4" destOrd="0" presId="urn:microsoft.com/office/officeart/2005/8/layout/lProcess1"/>
    <dgm:cxn modelId="{46BAA0EA-A3F8-4515-866A-A986E205B868}" type="presParOf" srcId="{FE3ACBDE-035A-4353-82FF-852E46FE1B8A}" destId="{7CA49CD7-5FA9-4135-A28D-07A82B67029F}" srcOrd="5" destOrd="0" presId="urn:microsoft.com/office/officeart/2005/8/layout/lProcess1"/>
    <dgm:cxn modelId="{CC88FA63-CE61-4F7C-A553-0B84BB48B88B}" type="presParOf" srcId="{FE3ACBDE-035A-4353-82FF-852E46FE1B8A}" destId="{08A0EC1F-6D3B-4DCA-BC63-31834ABC14D5}" srcOrd="6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0C82012-BF14-4907-B88C-5D9586CB9337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7E53D2B3-F2F8-4E13-ACAE-4AA7B1784B44}">
      <dgm:prSet phldrT="[Текст]" custT="1"/>
      <dgm:spPr>
        <a:solidFill>
          <a:srgbClr val="565087"/>
        </a:solidFill>
      </dgm:spPr>
      <dgm:t>
        <a:bodyPr/>
        <a:lstStyle/>
        <a:p>
          <a:r>
            <a:rPr lang="ru-RU" sz="2800" b="1" dirty="0"/>
            <a:t>Бакалавриат </a:t>
          </a:r>
        </a:p>
        <a:p>
          <a:r>
            <a:rPr lang="ru-RU" sz="2800" b="1" dirty="0"/>
            <a:t>Специалитет </a:t>
          </a:r>
        </a:p>
      </dgm:t>
    </dgm:pt>
    <dgm:pt modelId="{9DB3E0ED-F726-4773-8600-681B2D9147B8}" type="parTrans" cxnId="{6D93A939-64AD-4E56-B778-A4746DCBD749}">
      <dgm:prSet/>
      <dgm:spPr/>
      <dgm:t>
        <a:bodyPr/>
        <a:lstStyle/>
        <a:p>
          <a:endParaRPr lang="ru-RU"/>
        </a:p>
      </dgm:t>
    </dgm:pt>
    <dgm:pt modelId="{77940E26-648E-432A-ABA5-65BFEA1CC369}" type="sibTrans" cxnId="{6D93A939-64AD-4E56-B778-A4746DCBD749}">
      <dgm:prSet/>
      <dgm:spPr/>
      <dgm:t>
        <a:bodyPr/>
        <a:lstStyle/>
        <a:p>
          <a:endParaRPr lang="ru-RU"/>
        </a:p>
      </dgm:t>
    </dgm:pt>
    <dgm:pt modelId="{B2B7ECC9-39A0-493B-AF16-5C8D8A915A94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2400" b="1" dirty="0">
              <a:solidFill>
                <a:schemeClr val="tx1"/>
              </a:solidFill>
            </a:rPr>
            <a:t>Магистратура </a:t>
          </a:r>
        </a:p>
        <a:p>
          <a:r>
            <a:rPr lang="ru-RU" sz="2400" b="1" dirty="0">
              <a:solidFill>
                <a:schemeClr val="tx1"/>
              </a:solidFill>
            </a:rPr>
            <a:t>Ординатура </a:t>
          </a:r>
        </a:p>
        <a:p>
          <a:r>
            <a:rPr lang="ru-RU" sz="2400" b="1" dirty="0">
              <a:solidFill>
                <a:schemeClr val="tx1"/>
              </a:solidFill>
            </a:rPr>
            <a:t>Ассистентура-стажировка </a:t>
          </a:r>
        </a:p>
      </dgm:t>
    </dgm:pt>
    <dgm:pt modelId="{1A2AF1C3-AEFB-4166-9F88-BC6FD9588126}" type="parTrans" cxnId="{4C4F5B59-E373-45B3-9ADC-BA8B802B2B60}">
      <dgm:prSet/>
      <dgm:spPr/>
      <dgm:t>
        <a:bodyPr/>
        <a:lstStyle/>
        <a:p>
          <a:endParaRPr lang="ru-RU"/>
        </a:p>
      </dgm:t>
    </dgm:pt>
    <dgm:pt modelId="{85029934-A71E-48A5-AC4C-752A3E9330D4}" type="sibTrans" cxnId="{4C4F5B59-E373-45B3-9ADC-BA8B802B2B60}">
      <dgm:prSet/>
      <dgm:spPr/>
      <dgm:t>
        <a:bodyPr/>
        <a:lstStyle/>
        <a:p>
          <a:endParaRPr lang="ru-RU"/>
        </a:p>
      </dgm:t>
    </dgm:pt>
    <dgm:pt modelId="{B5F8E308-8443-40B6-BF52-E77C630F1359}" type="pres">
      <dgm:prSet presAssocID="{30C82012-BF14-4907-B88C-5D9586CB9337}" presName="diagram" presStyleCnt="0">
        <dgm:presLayoutVars>
          <dgm:dir/>
          <dgm:resizeHandles val="exact"/>
        </dgm:presLayoutVars>
      </dgm:prSet>
      <dgm:spPr/>
    </dgm:pt>
    <dgm:pt modelId="{D7C5E8B7-E3FE-4C1F-AF56-64CB1C40BD06}" type="pres">
      <dgm:prSet presAssocID="{7E53D2B3-F2F8-4E13-ACAE-4AA7B1784B44}" presName="node" presStyleLbl="node1" presStyleIdx="0" presStyleCnt="2">
        <dgm:presLayoutVars>
          <dgm:bulletEnabled val="1"/>
        </dgm:presLayoutVars>
      </dgm:prSet>
      <dgm:spPr/>
    </dgm:pt>
    <dgm:pt modelId="{6AD7F163-FE91-4139-80E0-1AE7C6DDAFAA}" type="pres">
      <dgm:prSet presAssocID="{77940E26-648E-432A-ABA5-65BFEA1CC369}" presName="sibTrans" presStyleCnt="0"/>
      <dgm:spPr/>
    </dgm:pt>
    <dgm:pt modelId="{9900DC10-1AF0-4040-8ADC-DD5D62886761}" type="pres">
      <dgm:prSet presAssocID="{B2B7ECC9-39A0-493B-AF16-5C8D8A915A94}" presName="node" presStyleLbl="node1" presStyleIdx="1" presStyleCnt="2">
        <dgm:presLayoutVars>
          <dgm:bulletEnabled val="1"/>
        </dgm:presLayoutVars>
      </dgm:prSet>
      <dgm:spPr/>
    </dgm:pt>
  </dgm:ptLst>
  <dgm:cxnLst>
    <dgm:cxn modelId="{214B9202-3704-4A47-B022-02FD9E038D2F}" type="presOf" srcId="{30C82012-BF14-4907-B88C-5D9586CB9337}" destId="{B5F8E308-8443-40B6-BF52-E77C630F1359}" srcOrd="0" destOrd="0" presId="urn:microsoft.com/office/officeart/2005/8/layout/default"/>
    <dgm:cxn modelId="{6D93A939-64AD-4E56-B778-A4746DCBD749}" srcId="{30C82012-BF14-4907-B88C-5D9586CB9337}" destId="{7E53D2B3-F2F8-4E13-ACAE-4AA7B1784B44}" srcOrd="0" destOrd="0" parTransId="{9DB3E0ED-F726-4773-8600-681B2D9147B8}" sibTransId="{77940E26-648E-432A-ABA5-65BFEA1CC369}"/>
    <dgm:cxn modelId="{E0EE956B-29F3-401C-A41F-D30C346F42D7}" type="presOf" srcId="{B2B7ECC9-39A0-493B-AF16-5C8D8A915A94}" destId="{9900DC10-1AF0-4040-8ADC-DD5D62886761}" srcOrd="0" destOrd="0" presId="urn:microsoft.com/office/officeart/2005/8/layout/default"/>
    <dgm:cxn modelId="{4C4F5B59-E373-45B3-9ADC-BA8B802B2B60}" srcId="{30C82012-BF14-4907-B88C-5D9586CB9337}" destId="{B2B7ECC9-39A0-493B-AF16-5C8D8A915A94}" srcOrd="1" destOrd="0" parTransId="{1A2AF1C3-AEFB-4166-9F88-BC6FD9588126}" sibTransId="{85029934-A71E-48A5-AC4C-752A3E9330D4}"/>
    <dgm:cxn modelId="{5A60DD92-FCAB-4AAF-B57A-22D504F47C94}" type="presOf" srcId="{7E53D2B3-F2F8-4E13-ACAE-4AA7B1784B44}" destId="{D7C5E8B7-E3FE-4C1F-AF56-64CB1C40BD06}" srcOrd="0" destOrd="0" presId="urn:microsoft.com/office/officeart/2005/8/layout/default"/>
    <dgm:cxn modelId="{C1650422-B024-45CD-8CCD-537892D9F1CB}" type="presParOf" srcId="{B5F8E308-8443-40B6-BF52-E77C630F1359}" destId="{D7C5E8B7-E3FE-4C1F-AF56-64CB1C40BD06}" srcOrd="0" destOrd="0" presId="urn:microsoft.com/office/officeart/2005/8/layout/default"/>
    <dgm:cxn modelId="{91D013B0-5107-4CDD-AF53-A57949B4CA60}" type="presParOf" srcId="{B5F8E308-8443-40B6-BF52-E77C630F1359}" destId="{6AD7F163-FE91-4139-80E0-1AE7C6DDAFAA}" srcOrd="1" destOrd="0" presId="urn:microsoft.com/office/officeart/2005/8/layout/default"/>
    <dgm:cxn modelId="{080585B4-74E7-4F8A-9484-419518DF6E5F}" type="presParOf" srcId="{B5F8E308-8443-40B6-BF52-E77C630F1359}" destId="{9900DC10-1AF0-4040-8ADC-DD5D62886761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BF29E46-A905-415B-8766-D87F1D3FBCD2}" type="doc">
      <dgm:prSet loTypeId="urn:microsoft.com/office/officeart/2005/8/layout/list1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1CBCE384-D67C-4989-9164-BA4C1607E3F7}">
      <dgm:prSet phldrT="[Текст]" custT="1"/>
      <dgm:spPr/>
      <dgm:t>
        <a:bodyPr/>
        <a:lstStyle/>
        <a:p>
          <a:r>
            <a:rPr lang="ru-RU" sz="3600" dirty="0">
              <a:solidFill>
                <a:schemeClr val="tx1"/>
              </a:solidFill>
            </a:rPr>
            <a:t>ИС ГА </a:t>
          </a:r>
        </a:p>
      </dgm:t>
    </dgm:pt>
    <dgm:pt modelId="{1ABF4255-9CBB-4D36-A040-5371C11D6503}" type="parTrans" cxnId="{2820DB80-9B9A-4388-9B03-5FD962BC3AFF}">
      <dgm:prSet/>
      <dgm:spPr/>
      <dgm:t>
        <a:bodyPr/>
        <a:lstStyle/>
        <a:p>
          <a:endParaRPr lang="ru-RU"/>
        </a:p>
      </dgm:t>
    </dgm:pt>
    <dgm:pt modelId="{A7B2E801-DAAB-485C-BED5-844E9EAE5303}" type="sibTrans" cxnId="{2820DB80-9B9A-4388-9B03-5FD962BC3AFF}">
      <dgm:prSet/>
      <dgm:spPr/>
      <dgm:t>
        <a:bodyPr/>
        <a:lstStyle/>
        <a:p>
          <a:endParaRPr lang="ru-RU"/>
        </a:p>
      </dgm:t>
    </dgm:pt>
    <dgm:pt modelId="{5E2B28A3-543B-4195-AE03-D0A083DF2113}">
      <dgm:prSet phldrT="[Текст]" custT="1"/>
      <dgm:spPr/>
      <dgm:t>
        <a:bodyPr/>
        <a:lstStyle/>
        <a:p>
          <a:r>
            <a:rPr lang="ru-RU" sz="2800" b="1" dirty="0">
              <a:solidFill>
                <a:schemeClr val="tx1"/>
              </a:solidFill>
            </a:rPr>
            <a:t>Модуль «Аккредитационный мониторинг» </a:t>
          </a:r>
        </a:p>
      </dgm:t>
    </dgm:pt>
    <dgm:pt modelId="{EA4302AB-9DB4-4712-BEE8-07B2CC564BCA}" type="parTrans" cxnId="{1FA52651-4E41-4BC6-BE3C-01AD63EBD7F1}">
      <dgm:prSet/>
      <dgm:spPr/>
      <dgm:t>
        <a:bodyPr/>
        <a:lstStyle/>
        <a:p>
          <a:endParaRPr lang="ru-RU"/>
        </a:p>
      </dgm:t>
    </dgm:pt>
    <dgm:pt modelId="{C1DA29BB-CCF5-43A1-A088-DC4C6619440A}" type="sibTrans" cxnId="{1FA52651-4E41-4BC6-BE3C-01AD63EBD7F1}">
      <dgm:prSet/>
      <dgm:spPr/>
      <dgm:t>
        <a:bodyPr/>
        <a:lstStyle/>
        <a:p>
          <a:endParaRPr lang="ru-RU"/>
        </a:p>
      </dgm:t>
    </dgm:pt>
    <dgm:pt modelId="{04E08AF4-38F7-438E-AACC-C5A4142DF1A9}">
      <dgm:prSet phldrT="[Текст]" custT="1"/>
      <dgm:spPr/>
      <dgm:t>
        <a:bodyPr/>
        <a:lstStyle/>
        <a:p>
          <a:r>
            <a:rPr lang="ru-RU" sz="2800" b="1" dirty="0">
              <a:solidFill>
                <a:schemeClr val="tx1"/>
              </a:solidFill>
            </a:rPr>
            <a:t>Ввод первичных данных осуществляется вузом </a:t>
          </a:r>
        </a:p>
      </dgm:t>
    </dgm:pt>
    <dgm:pt modelId="{F794EDF3-C5F8-4D4C-8396-9CB830273105}" type="parTrans" cxnId="{7A05FC8A-AC7C-4794-98BF-16EC73BB83D5}">
      <dgm:prSet/>
      <dgm:spPr/>
      <dgm:t>
        <a:bodyPr/>
        <a:lstStyle/>
        <a:p>
          <a:endParaRPr lang="ru-RU"/>
        </a:p>
      </dgm:t>
    </dgm:pt>
    <dgm:pt modelId="{F7C39A1C-6040-4AE0-837B-681683DDF331}" type="sibTrans" cxnId="{7A05FC8A-AC7C-4794-98BF-16EC73BB83D5}">
      <dgm:prSet/>
      <dgm:spPr/>
      <dgm:t>
        <a:bodyPr/>
        <a:lstStyle/>
        <a:p>
          <a:endParaRPr lang="ru-RU"/>
        </a:p>
      </dgm:t>
    </dgm:pt>
    <dgm:pt modelId="{E3A99BA0-5B77-4869-A2E4-56BA828F5011}">
      <dgm:prSet custT="1"/>
      <dgm:spPr/>
      <dgm:t>
        <a:bodyPr/>
        <a:lstStyle/>
        <a:p>
          <a:r>
            <a:rPr lang="ru-RU" sz="2800" b="1" dirty="0">
              <a:solidFill>
                <a:schemeClr val="tx1"/>
              </a:solidFill>
            </a:rPr>
            <a:t>Выгрузка отчета по ОПОП</a:t>
          </a:r>
        </a:p>
      </dgm:t>
    </dgm:pt>
    <dgm:pt modelId="{DE92D9FE-AB67-4798-BF6E-489738EB6FB7}" type="parTrans" cxnId="{4788E54F-FFAA-4A06-AB67-6577BDC57D5F}">
      <dgm:prSet/>
      <dgm:spPr/>
      <dgm:t>
        <a:bodyPr/>
        <a:lstStyle/>
        <a:p>
          <a:endParaRPr lang="ru-RU"/>
        </a:p>
      </dgm:t>
    </dgm:pt>
    <dgm:pt modelId="{35F9305D-4373-4436-8BBB-F5140347D8BC}" type="sibTrans" cxnId="{4788E54F-FFAA-4A06-AB67-6577BDC57D5F}">
      <dgm:prSet/>
      <dgm:spPr/>
      <dgm:t>
        <a:bodyPr/>
        <a:lstStyle/>
        <a:p>
          <a:endParaRPr lang="ru-RU"/>
        </a:p>
      </dgm:t>
    </dgm:pt>
    <dgm:pt modelId="{68A2BA39-8D23-41D1-8282-603AF20970B2}" type="pres">
      <dgm:prSet presAssocID="{FBF29E46-A905-415B-8766-D87F1D3FBCD2}" presName="linear" presStyleCnt="0">
        <dgm:presLayoutVars>
          <dgm:dir/>
          <dgm:animLvl val="lvl"/>
          <dgm:resizeHandles val="exact"/>
        </dgm:presLayoutVars>
      </dgm:prSet>
      <dgm:spPr/>
    </dgm:pt>
    <dgm:pt modelId="{13D24151-246F-42FD-A2E1-C3CB2497865D}" type="pres">
      <dgm:prSet presAssocID="{1CBCE384-D67C-4989-9164-BA4C1607E3F7}" presName="parentLin" presStyleCnt="0"/>
      <dgm:spPr/>
    </dgm:pt>
    <dgm:pt modelId="{D7D8AE33-2DD1-4660-A379-8932E164FB96}" type="pres">
      <dgm:prSet presAssocID="{1CBCE384-D67C-4989-9164-BA4C1607E3F7}" presName="parentLeftMargin" presStyleLbl="node1" presStyleIdx="0" presStyleCnt="4"/>
      <dgm:spPr/>
    </dgm:pt>
    <dgm:pt modelId="{A0CBE31A-2F7A-42A9-B901-3DBB0F0F0C85}" type="pres">
      <dgm:prSet presAssocID="{1CBCE384-D67C-4989-9164-BA4C1607E3F7}" presName="parentText" presStyleLbl="node1" presStyleIdx="0" presStyleCnt="4" custScaleY="141881">
        <dgm:presLayoutVars>
          <dgm:chMax val="0"/>
          <dgm:bulletEnabled val="1"/>
        </dgm:presLayoutVars>
      </dgm:prSet>
      <dgm:spPr/>
    </dgm:pt>
    <dgm:pt modelId="{E5A8230D-368E-487E-9001-5BB2B51D3D92}" type="pres">
      <dgm:prSet presAssocID="{1CBCE384-D67C-4989-9164-BA4C1607E3F7}" presName="negativeSpace" presStyleCnt="0"/>
      <dgm:spPr/>
    </dgm:pt>
    <dgm:pt modelId="{AB30C05F-A81F-47DB-AE87-5C4A8ADE237E}" type="pres">
      <dgm:prSet presAssocID="{1CBCE384-D67C-4989-9164-BA4C1607E3F7}" presName="childText" presStyleLbl="conFgAcc1" presStyleIdx="0" presStyleCnt="4">
        <dgm:presLayoutVars>
          <dgm:bulletEnabled val="1"/>
        </dgm:presLayoutVars>
      </dgm:prSet>
      <dgm:spPr/>
    </dgm:pt>
    <dgm:pt modelId="{4DB2C891-3120-498A-84A2-9B76002D3167}" type="pres">
      <dgm:prSet presAssocID="{A7B2E801-DAAB-485C-BED5-844E9EAE5303}" presName="spaceBetweenRectangles" presStyleCnt="0"/>
      <dgm:spPr/>
    </dgm:pt>
    <dgm:pt modelId="{43AF7118-CE65-4F8D-B035-1AC74411E43F}" type="pres">
      <dgm:prSet presAssocID="{5E2B28A3-543B-4195-AE03-D0A083DF2113}" presName="parentLin" presStyleCnt="0"/>
      <dgm:spPr/>
    </dgm:pt>
    <dgm:pt modelId="{9AADC46B-E68B-402B-BC58-8A1F3D9E7145}" type="pres">
      <dgm:prSet presAssocID="{5E2B28A3-543B-4195-AE03-D0A083DF2113}" presName="parentLeftMargin" presStyleLbl="node1" presStyleIdx="0" presStyleCnt="4"/>
      <dgm:spPr/>
    </dgm:pt>
    <dgm:pt modelId="{8928FCD1-9BDF-41A2-A67C-1AEC242A6A24}" type="pres">
      <dgm:prSet presAssocID="{5E2B28A3-543B-4195-AE03-D0A083DF2113}" presName="parentText" presStyleLbl="node1" presStyleIdx="1" presStyleCnt="4" custScaleY="132831">
        <dgm:presLayoutVars>
          <dgm:chMax val="0"/>
          <dgm:bulletEnabled val="1"/>
        </dgm:presLayoutVars>
      </dgm:prSet>
      <dgm:spPr/>
    </dgm:pt>
    <dgm:pt modelId="{42510C51-C385-4F10-95CB-B018471FD1D5}" type="pres">
      <dgm:prSet presAssocID="{5E2B28A3-543B-4195-AE03-D0A083DF2113}" presName="negativeSpace" presStyleCnt="0"/>
      <dgm:spPr/>
    </dgm:pt>
    <dgm:pt modelId="{27D06BBB-1552-493F-83D0-0384C2519194}" type="pres">
      <dgm:prSet presAssocID="{5E2B28A3-543B-4195-AE03-D0A083DF2113}" presName="childText" presStyleLbl="conFgAcc1" presStyleIdx="1" presStyleCnt="4">
        <dgm:presLayoutVars>
          <dgm:bulletEnabled val="1"/>
        </dgm:presLayoutVars>
      </dgm:prSet>
      <dgm:spPr/>
    </dgm:pt>
    <dgm:pt modelId="{E92D438A-9387-4EE1-9237-293F133A571D}" type="pres">
      <dgm:prSet presAssocID="{C1DA29BB-CCF5-43A1-A088-DC4C6619440A}" presName="spaceBetweenRectangles" presStyleCnt="0"/>
      <dgm:spPr/>
    </dgm:pt>
    <dgm:pt modelId="{10730822-12EF-45DE-A53E-EA70543B64C7}" type="pres">
      <dgm:prSet presAssocID="{04E08AF4-38F7-438E-AACC-C5A4142DF1A9}" presName="parentLin" presStyleCnt="0"/>
      <dgm:spPr/>
    </dgm:pt>
    <dgm:pt modelId="{9AC8FFD0-59D1-4AAE-BB73-3C4E51C71E75}" type="pres">
      <dgm:prSet presAssocID="{04E08AF4-38F7-438E-AACC-C5A4142DF1A9}" presName="parentLeftMargin" presStyleLbl="node1" presStyleIdx="1" presStyleCnt="4"/>
      <dgm:spPr/>
    </dgm:pt>
    <dgm:pt modelId="{064AEF81-E8F1-4F3A-A242-5E098225B53F}" type="pres">
      <dgm:prSet presAssocID="{04E08AF4-38F7-438E-AACC-C5A4142DF1A9}" presName="parentText" presStyleLbl="node1" presStyleIdx="2" presStyleCnt="4" custScaleY="137802">
        <dgm:presLayoutVars>
          <dgm:chMax val="0"/>
          <dgm:bulletEnabled val="1"/>
        </dgm:presLayoutVars>
      </dgm:prSet>
      <dgm:spPr/>
    </dgm:pt>
    <dgm:pt modelId="{B74D4321-AF85-4E1C-927F-C8A1787EE525}" type="pres">
      <dgm:prSet presAssocID="{04E08AF4-38F7-438E-AACC-C5A4142DF1A9}" presName="negativeSpace" presStyleCnt="0"/>
      <dgm:spPr/>
    </dgm:pt>
    <dgm:pt modelId="{085C2191-DD1C-4009-9AD2-C89733696CE7}" type="pres">
      <dgm:prSet presAssocID="{04E08AF4-38F7-438E-AACC-C5A4142DF1A9}" presName="childText" presStyleLbl="conFgAcc1" presStyleIdx="2" presStyleCnt="4">
        <dgm:presLayoutVars>
          <dgm:bulletEnabled val="1"/>
        </dgm:presLayoutVars>
      </dgm:prSet>
      <dgm:spPr/>
    </dgm:pt>
    <dgm:pt modelId="{72955A21-BF06-47C3-A163-63E334651859}" type="pres">
      <dgm:prSet presAssocID="{F7C39A1C-6040-4AE0-837B-681683DDF331}" presName="spaceBetweenRectangles" presStyleCnt="0"/>
      <dgm:spPr/>
    </dgm:pt>
    <dgm:pt modelId="{5F7B02D4-CA7E-4C00-B76A-FF48293BDAA8}" type="pres">
      <dgm:prSet presAssocID="{E3A99BA0-5B77-4869-A2E4-56BA828F5011}" presName="parentLin" presStyleCnt="0"/>
      <dgm:spPr/>
    </dgm:pt>
    <dgm:pt modelId="{675CA96D-756D-4049-B791-F3BE4B97D6DE}" type="pres">
      <dgm:prSet presAssocID="{E3A99BA0-5B77-4869-A2E4-56BA828F5011}" presName="parentLeftMargin" presStyleLbl="node1" presStyleIdx="2" presStyleCnt="4"/>
      <dgm:spPr/>
    </dgm:pt>
    <dgm:pt modelId="{7BDDEECE-D6A1-40B9-BEC7-D271D9DFCA5E}" type="pres">
      <dgm:prSet presAssocID="{E3A99BA0-5B77-4869-A2E4-56BA828F5011}" presName="parentText" presStyleLbl="node1" presStyleIdx="3" presStyleCnt="4" custScaleY="136857">
        <dgm:presLayoutVars>
          <dgm:chMax val="0"/>
          <dgm:bulletEnabled val="1"/>
        </dgm:presLayoutVars>
      </dgm:prSet>
      <dgm:spPr/>
    </dgm:pt>
    <dgm:pt modelId="{CC8C228B-6E0B-473C-BB5D-C51E5A7F5826}" type="pres">
      <dgm:prSet presAssocID="{E3A99BA0-5B77-4869-A2E4-56BA828F5011}" presName="negativeSpace" presStyleCnt="0"/>
      <dgm:spPr/>
    </dgm:pt>
    <dgm:pt modelId="{66481FD3-62A5-4EDE-9877-BB667D1060AD}" type="pres">
      <dgm:prSet presAssocID="{E3A99BA0-5B77-4869-A2E4-56BA828F5011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38892726-CE79-4B5A-A8F1-789FC8C1C829}" type="presOf" srcId="{5E2B28A3-543B-4195-AE03-D0A083DF2113}" destId="{8928FCD1-9BDF-41A2-A67C-1AEC242A6A24}" srcOrd="1" destOrd="0" presId="urn:microsoft.com/office/officeart/2005/8/layout/list1"/>
    <dgm:cxn modelId="{FB2D532B-83A7-409E-9158-F8595D3E1D99}" type="presOf" srcId="{1CBCE384-D67C-4989-9164-BA4C1607E3F7}" destId="{D7D8AE33-2DD1-4660-A379-8932E164FB96}" srcOrd="0" destOrd="0" presId="urn:microsoft.com/office/officeart/2005/8/layout/list1"/>
    <dgm:cxn modelId="{51742B3A-332C-4A50-9B3F-DE1049142938}" type="presOf" srcId="{5E2B28A3-543B-4195-AE03-D0A083DF2113}" destId="{9AADC46B-E68B-402B-BC58-8A1F3D9E7145}" srcOrd="0" destOrd="0" presId="urn:microsoft.com/office/officeart/2005/8/layout/list1"/>
    <dgm:cxn modelId="{D5185F5F-ECCD-4D43-BD61-6F1F791CF2E3}" type="presOf" srcId="{FBF29E46-A905-415B-8766-D87F1D3FBCD2}" destId="{68A2BA39-8D23-41D1-8282-603AF20970B2}" srcOrd="0" destOrd="0" presId="urn:microsoft.com/office/officeart/2005/8/layout/list1"/>
    <dgm:cxn modelId="{4788E54F-FFAA-4A06-AB67-6577BDC57D5F}" srcId="{FBF29E46-A905-415B-8766-D87F1D3FBCD2}" destId="{E3A99BA0-5B77-4869-A2E4-56BA828F5011}" srcOrd="3" destOrd="0" parTransId="{DE92D9FE-AB67-4798-BF6E-489738EB6FB7}" sibTransId="{35F9305D-4373-4436-8BBB-F5140347D8BC}"/>
    <dgm:cxn modelId="{1FA52651-4E41-4BC6-BE3C-01AD63EBD7F1}" srcId="{FBF29E46-A905-415B-8766-D87F1D3FBCD2}" destId="{5E2B28A3-543B-4195-AE03-D0A083DF2113}" srcOrd="1" destOrd="0" parTransId="{EA4302AB-9DB4-4712-BEE8-07B2CC564BCA}" sibTransId="{C1DA29BB-CCF5-43A1-A088-DC4C6619440A}"/>
    <dgm:cxn modelId="{2820DB80-9B9A-4388-9B03-5FD962BC3AFF}" srcId="{FBF29E46-A905-415B-8766-D87F1D3FBCD2}" destId="{1CBCE384-D67C-4989-9164-BA4C1607E3F7}" srcOrd="0" destOrd="0" parTransId="{1ABF4255-9CBB-4D36-A040-5371C11D6503}" sibTransId="{A7B2E801-DAAB-485C-BED5-844E9EAE5303}"/>
    <dgm:cxn modelId="{06AB3F88-F30C-4F37-AAD4-CA15A96347EA}" type="presOf" srcId="{04E08AF4-38F7-438E-AACC-C5A4142DF1A9}" destId="{9AC8FFD0-59D1-4AAE-BB73-3C4E51C71E75}" srcOrd="0" destOrd="0" presId="urn:microsoft.com/office/officeart/2005/8/layout/list1"/>
    <dgm:cxn modelId="{BC8DAF8A-EB82-4CEC-998A-00F482839B94}" type="presOf" srcId="{1CBCE384-D67C-4989-9164-BA4C1607E3F7}" destId="{A0CBE31A-2F7A-42A9-B901-3DBB0F0F0C85}" srcOrd="1" destOrd="0" presId="urn:microsoft.com/office/officeart/2005/8/layout/list1"/>
    <dgm:cxn modelId="{7A05FC8A-AC7C-4794-98BF-16EC73BB83D5}" srcId="{FBF29E46-A905-415B-8766-D87F1D3FBCD2}" destId="{04E08AF4-38F7-438E-AACC-C5A4142DF1A9}" srcOrd="2" destOrd="0" parTransId="{F794EDF3-C5F8-4D4C-8396-9CB830273105}" sibTransId="{F7C39A1C-6040-4AE0-837B-681683DDF331}"/>
    <dgm:cxn modelId="{E17B1EAF-2FC4-481A-9A6A-0A13232111F0}" type="presOf" srcId="{04E08AF4-38F7-438E-AACC-C5A4142DF1A9}" destId="{064AEF81-E8F1-4F3A-A242-5E098225B53F}" srcOrd="1" destOrd="0" presId="urn:microsoft.com/office/officeart/2005/8/layout/list1"/>
    <dgm:cxn modelId="{BBB33CD6-6795-4BB1-B4D6-5040121EF70A}" type="presOf" srcId="{E3A99BA0-5B77-4869-A2E4-56BA828F5011}" destId="{7BDDEECE-D6A1-40B9-BEC7-D271D9DFCA5E}" srcOrd="1" destOrd="0" presId="urn:microsoft.com/office/officeart/2005/8/layout/list1"/>
    <dgm:cxn modelId="{DC9F40F2-48FC-4FE1-B49E-FF6CA37D1017}" type="presOf" srcId="{E3A99BA0-5B77-4869-A2E4-56BA828F5011}" destId="{675CA96D-756D-4049-B791-F3BE4B97D6DE}" srcOrd="0" destOrd="0" presId="urn:microsoft.com/office/officeart/2005/8/layout/list1"/>
    <dgm:cxn modelId="{98037237-09A0-4BD6-929E-30CB2A38429D}" type="presParOf" srcId="{68A2BA39-8D23-41D1-8282-603AF20970B2}" destId="{13D24151-246F-42FD-A2E1-C3CB2497865D}" srcOrd="0" destOrd="0" presId="urn:microsoft.com/office/officeart/2005/8/layout/list1"/>
    <dgm:cxn modelId="{A505450D-8952-4466-8C4B-21394A1F2898}" type="presParOf" srcId="{13D24151-246F-42FD-A2E1-C3CB2497865D}" destId="{D7D8AE33-2DD1-4660-A379-8932E164FB96}" srcOrd="0" destOrd="0" presId="urn:microsoft.com/office/officeart/2005/8/layout/list1"/>
    <dgm:cxn modelId="{DAE6211D-C96C-43BD-8235-105281DF5757}" type="presParOf" srcId="{13D24151-246F-42FD-A2E1-C3CB2497865D}" destId="{A0CBE31A-2F7A-42A9-B901-3DBB0F0F0C85}" srcOrd="1" destOrd="0" presId="urn:microsoft.com/office/officeart/2005/8/layout/list1"/>
    <dgm:cxn modelId="{31E772B5-C33B-43BC-A819-AB4753610D77}" type="presParOf" srcId="{68A2BA39-8D23-41D1-8282-603AF20970B2}" destId="{E5A8230D-368E-487E-9001-5BB2B51D3D92}" srcOrd="1" destOrd="0" presId="urn:microsoft.com/office/officeart/2005/8/layout/list1"/>
    <dgm:cxn modelId="{605E7C8E-429F-4536-B309-58B87FD84CF1}" type="presParOf" srcId="{68A2BA39-8D23-41D1-8282-603AF20970B2}" destId="{AB30C05F-A81F-47DB-AE87-5C4A8ADE237E}" srcOrd="2" destOrd="0" presId="urn:microsoft.com/office/officeart/2005/8/layout/list1"/>
    <dgm:cxn modelId="{9C4742AC-6963-4BF2-B816-5B544A114D75}" type="presParOf" srcId="{68A2BA39-8D23-41D1-8282-603AF20970B2}" destId="{4DB2C891-3120-498A-84A2-9B76002D3167}" srcOrd="3" destOrd="0" presId="urn:microsoft.com/office/officeart/2005/8/layout/list1"/>
    <dgm:cxn modelId="{898D034E-5131-441B-A79A-35EC2D5EF66B}" type="presParOf" srcId="{68A2BA39-8D23-41D1-8282-603AF20970B2}" destId="{43AF7118-CE65-4F8D-B035-1AC74411E43F}" srcOrd="4" destOrd="0" presId="urn:microsoft.com/office/officeart/2005/8/layout/list1"/>
    <dgm:cxn modelId="{42C72F01-75FA-4B95-8EC5-AFC6DF493DCF}" type="presParOf" srcId="{43AF7118-CE65-4F8D-B035-1AC74411E43F}" destId="{9AADC46B-E68B-402B-BC58-8A1F3D9E7145}" srcOrd="0" destOrd="0" presId="urn:microsoft.com/office/officeart/2005/8/layout/list1"/>
    <dgm:cxn modelId="{45B9A9CF-D345-4585-AADA-EF45A3AA7D16}" type="presParOf" srcId="{43AF7118-CE65-4F8D-B035-1AC74411E43F}" destId="{8928FCD1-9BDF-41A2-A67C-1AEC242A6A24}" srcOrd="1" destOrd="0" presId="urn:microsoft.com/office/officeart/2005/8/layout/list1"/>
    <dgm:cxn modelId="{75C75860-618A-46C6-A8C2-0A62D0FA6E53}" type="presParOf" srcId="{68A2BA39-8D23-41D1-8282-603AF20970B2}" destId="{42510C51-C385-4F10-95CB-B018471FD1D5}" srcOrd="5" destOrd="0" presId="urn:microsoft.com/office/officeart/2005/8/layout/list1"/>
    <dgm:cxn modelId="{6329D4AA-0CDE-432A-9EA8-E2A505429088}" type="presParOf" srcId="{68A2BA39-8D23-41D1-8282-603AF20970B2}" destId="{27D06BBB-1552-493F-83D0-0384C2519194}" srcOrd="6" destOrd="0" presId="urn:microsoft.com/office/officeart/2005/8/layout/list1"/>
    <dgm:cxn modelId="{05ED4B5A-38C0-4772-83F9-BE1E3634EB12}" type="presParOf" srcId="{68A2BA39-8D23-41D1-8282-603AF20970B2}" destId="{E92D438A-9387-4EE1-9237-293F133A571D}" srcOrd="7" destOrd="0" presId="urn:microsoft.com/office/officeart/2005/8/layout/list1"/>
    <dgm:cxn modelId="{94E61F41-233D-4E8F-915A-9D15CCEB3069}" type="presParOf" srcId="{68A2BA39-8D23-41D1-8282-603AF20970B2}" destId="{10730822-12EF-45DE-A53E-EA70543B64C7}" srcOrd="8" destOrd="0" presId="urn:microsoft.com/office/officeart/2005/8/layout/list1"/>
    <dgm:cxn modelId="{B7009622-48B5-445C-A6C9-A59B94600597}" type="presParOf" srcId="{10730822-12EF-45DE-A53E-EA70543B64C7}" destId="{9AC8FFD0-59D1-4AAE-BB73-3C4E51C71E75}" srcOrd="0" destOrd="0" presId="urn:microsoft.com/office/officeart/2005/8/layout/list1"/>
    <dgm:cxn modelId="{17178AEF-5323-4317-B6BE-E38F768BF542}" type="presParOf" srcId="{10730822-12EF-45DE-A53E-EA70543B64C7}" destId="{064AEF81-E8F1-4F3A-A242-5E098225B53F}" srcOrd="1" destOrd="0" presId="urn:microsoft.com/office/officeart/2005/8/layout/list1"/>
    <dgm:cxn modelId="{18A7EBD0-F532-4157-B2D4-978AE09DC3F8}" type="presParOf" srcId="{68A2BA39-8D23-41D1-8282-603AF20970B2}" destId="{B74D4321-AF85-4E1C-927F-C8A1787EE525}" srcOrd="9" destOrd="0" presId="urn:microsoft.com/office/officeart/2005/8/layout/list1"/>
    <dgm:cxn modelId="{15BDDF05-E9EA-49BC-A2FE-C7B4954DF573}" type="presParOf" srcId="{68A2BA39-8D23-41D1-8282-603AF20970B2}" destId="{085C2191-DD1C-4009-9AD2-C89733696CE7}" srcOrd="10" destOrd="0" presId="urn:microsoft.com/office/officeart/2005/8/layout/list1"/>
    <dgm:cxn modelId="{4C290475-BDC3-4B33-80E7-27FE30546BB0}" type="presParOf" srcId="{68A2BA39-8D23-41D1-8282-603AF20970B2}" destId="{72955A21-BF06-47C3-A163-63E334651859}" srcOrd="11" destOrd="0" presId="urn:microsoft.com/office/officeart/2005/8/layout/list1"/>
    <dgm:cxn modelId="{C1824673-072E-4391-BFDF-56F051057F72}" type="presParOf" srcId="{68A2BA39-8D23-41D1-8282-603AF20970B2}" destId="{5F7B02D4-CA7E-4C00-B76A-FF48293BDAA8}" srcOrd="12" destOrd="0" presId="urn:microsoft.com/office/officeart/2005/8/layout/list1"/>
    <dgm:cxn modelId="{E84526BF-CBD1-4101-B0F0-4B0BE6CBA288}" type="presParOf" srcId="{5F7B02D4-CA7E-4C00-B76A-FF48293BDAA8}" destId="{675CA96D-756D-4049-B791-F3BE4B97D6DE}" srcOrd="0" destOrd="0" presId="urn:microsoft.com/office/officeart/2005/8/layout/list1"/>
    <dgm:cxn modelId="{BCF05E68-5532-478D-83ED-47CB1083151F}" type="presParOf" srcId="{5F7B02D4-CA7E-4C00-B76A-FF48293BDAA8}" destId="{7BDDEECE-D6A1-40B9-BEC7-D271D9DFCA5E}" srcOrd="1" destOrd="0" presId="urn:microsoft.com/office/officeart/2005/8/layout/list1"/>
    <dgm:cxn modelId="{5D04FB01-3B54-483F-9ED2-1A7A8DD19D72}" type="presParOf" srcId="{68A2BA39-8D23-41D1-8282-603AF20970B2}" destId="{CC8C228B-6E0B-473C-BB5D-C51E5A7F5826}" srcOrd="13" destOrd="0" presId="urn:microsoft.com/office/officeart/2005/8/layout/list1"/>
    <dgm:cxn modelId="{2D153A33-E946-48BB-A644-E56B2FE41DF9}" type="presParOf" srcId="{68A2BA39-8D23-41D1-8282-603AF20970B2}" destId="{66481FD3-62A5-4EDE-9877-BB667D1060AD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DFA6A40-8885-469C-88D0-32E0B32DC0F7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49437F80-A870-49D2-BA55-4F851A06CF1E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Трудоустроенный </a:t>
          </a:r>
        </a:p>
      </dgm:t>
    </dgm:pt>
    <dgm:pt modelId="{5DCEFBB2-6FBD-49BE-AE91-CA474B85BFF3}" type="parTrans" cxnId="{DBAB7259-98A6-4F46-B162-F24CAA2F55E4}">
      <dgm:prSet/>
      <dgm:spPr/>
      <dgm:t>
        <a:bodyPr/>
        <a:lstStyle/>
        <a:p>
          <a:endParaRPr lang="ru-RU"/>
        </a:p>
      </dgm:t>
    </dgm:pt>
    <dgm:pt modelId="{2B9F21C4-34FC-44F5-BE1A-E59ED09B5C43}" type="sibTrans" cxnId="{DBAB7259-98A6-4F46-B162-F24CAA2F55E4}">
      <dgm:prSet/>
      <dgm:spPr/>
      <dgm:t>
        <a:bodyPr/>
        <a:lstStyle/>
        <a:p>
          <a:endParaRPr lang="ru-RU"/>
        </a:p>
      </dgm:t>
    </dgm:pt>
    <dgm:pt modelId="{8AFC980B-7A58-4A71-8CAE-52CC471AC4FB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Индивидуальный предприниматель </a:t>
          </a:r>
        </a:p>
      </dgm:t>
    </dgm:pt>
    <dgm:pt modelId="{AB0557BB-592B-425C-BD26-DA0BE8931A38}" type="parTrans" cxnId="{EB6E58A8-6823-4FEF-80E7-20DCEFBD3BD4}">
      <dgm:prSet/>
      <dgm:spPr/>
      <dgm:t>
        <a:bodyPr/>
        <a:lstStyle/>
        <a:p>
          <a:endParaRPr lang="ru-RU"/>
        </a:p>
      </dgm:t>
    </dgm:pt>
    <dgm:pt modelId="{026E5149-EC03-49B5-AC49-8D20270BC0C7}" type="sibTrans" cxnId="{EB6E58A8-6823-4FEF-80E7-20DCEFBD3BD4}">
      <dgm:prSet/>
      <dgm:spPr/>
      <dgm:t>
        <a:bodyPr/>
        <a:lstStyle/>
        <a:p>
          <a:endParaRPr lang="ru-RU"/>
        </a:p>
      </dgm:t>
    </dgm:pt>
    <dgm:pt modelId="{A3376E40-214E-4308-8B20-A15D3D24176B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Самозанятый </a:t>
          </a:r>
        </a:p>
      </dgm:t>
    </dgm:pt>
    <dgm:pt modelId="{798879FB-42CA-47E4-9206-7A64E127ADCD}" type="parTrans" cxnId="{3ACA5618-04E9-411D-AB9D-F42284B105DB}">
      <dgm:prSet/>
      <dgm:spPr/>
      <dgm:t>
        <a:bodyPr/>
        <a:lstStyle/>
        <a:p>
          <a:endParaRPr lang="ru-RU"/>
        </a:p>
      </dgm:t>
    </dgm:pt>
    <dgm:pt modelId="{7B78D8E3-7E5F-4B3D-A43F-177EBA82C6C6}" type="sibTrans" cxnId="{3ACA5618-04E9-411D-AB9D-F42284B105DB}">
      <dgm:prSet/>
      <dgm:spPr/>
      <dgm:t>
        <a:bodyPr/>
        <a:lstStyle/>
        <a:p>
          <a:endParaRPr lang="ru-RU"/>
        </a:p>
      </dgm:t>
    </dgm:pt>
    <dgm:pt modelId="{909ADC6A-E915-4B99-95BB-252F86DBDCF6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Продолживший обучение </a:t>
          </a:r>
        </a:p>
      </dgm:t>
    </dgm:pt>
    <dgm:pt modelId="{C1EA1D7E-0DCE-4C13-A429-6FB8C25255D9}" type="parTrans" cxnId="{4CFF8E6E-F994-4C17-92B8-22B285BAA15A}">
      <dgm:prSet/>
      <dgm:spPr/>
      <dgm:t>
        <a:bodyPr/>
        <a:lstStyle/>
        <a:p>
          <a:endParaRPr lang="ru-RU"/>
        </a:p>
      </dgm:t>
    </dgm:pt>
    <dgm:pt modelId="{61AE00DF-906C-4DB6-B7CF-B20AE7D2FBB1}" type="sibTrans" cxnId="{4CFF8E6E-F994-4C17-92B8-22B285BAA15A}">
      <dgm:prSet/>
      <dgm:spPr/>
      <dgm:t>
        <a:bodyPr/>
        <a:lstStyle/>
        <a:p>
          <a:endParaRPr lang="ru-RU"/>
        </a:p>
      </dgm:t>
    </dgm:pt>
    <dgm:pt modelId="{D3F2DE09-0F4D-4D57-8B4E-01791C4FFC67}" type="pres">
      <dgm:prSet presAssocID="{0DFA6A40-8885-469C-88D0-32E0B32DC0F7}" presName="Name0" presStyleCnt="0">
        <dgm:presLayoutVars>
          <dgm:dir/>
          <dgm:resizeHandles val="exact"/>
        </dgm:presLayoutVars>
      </dgm:prSet>
      <dgm:spPr/>
    </dgm:pt>
    <dgm:pt modelId="{BE2BC559-4390-4B5C-853B-DD8F46E180FF}" type="pres">
      <dgm:prSet presAssocID="{49437F80-A870-49D2-BA55-4F851A06CF1E}" presName="parTxOnly" presStyleLbl="node1" presStyleIdx="0" presStyleCnt="4">
        <dgm:presLayoutVars>
          <dgm:bulletEnabled val="1"/>
        </dgm:presLayoutVars>
      </dgm:prSet>
      <dgm:spPr/>
    </dgm:pt>
    <dgm:pt modelId="{D2A9B2CA-E4F1-40CB-AB7A-B07EB3F29C94}" type="pres">
      <dgm:prSet presAssocID="{2B9F21C4-34FC-44F5-BE1A-E59ED09B5C43}" presName="parSpace" presStyleCnt="0"/>
      <dgm:spPr/>
    </dgm:pt>
    <dgm:pt modelId="{AE3962E1-8607-49A0-BAFE-3325C6C94461}" type="pres">
      <dgm:prSet presAssocID="{8AFC980B-7A58-4A71-8CAE-52CC471AC4FB}" presName="parTxOnly" presStyleLbl="node1" presStyleIdx="1" presStyleCnt="4">
        <dgm:presLayoutVars>
          <dgm:bulletEnabled val="1"/>
        </dgm:presLayoutVars>
      </dgm:prSet>
      <dgm:spPr/>
    </dgm:pt>
    <dgm:pt modelId="{38CD24BD-E345-4B1A-B235-3405E5AABD9A}" type="pres">
      <dgm:prSet presAssocID="{026E5149-EC03-49B5-AC49-8D20270BC0C7}" presName="parSpace" presStyleCnt="0"/>
      <dgm:spPr/>
    </dgm:pt>
    <dgm:pt modelId="{721440E5-A79D-48AF-B4A8-D949DA611B75}" type="pres">
      <dgm:prSet presAssocID="{A3376E40-214E-4308-8B20-A15D3D24176B}" presName="parTxOnly" presStyleLbl="node1" presStyleIdx="2" presStyleCnt="4">
        <dgm:presLayoutVars>
          <dgm:bulletEnabled val="1"/>
        </dgm:presLayoutVars>
      </dgm:prSet>
      <dgm:spPr/>
    </dgm:pt>
    <dgm:pt modelId="{727D2074-390F-4754-9C49-6910F3C4F253}" type="pres">
      <dgm:prSet presAssocID="{7B78D8E3-7E5F-4B3D-A43F-177EBA82C6C6}" presName="parSpace" presStyleCnt="0"/>
      <dgm:spPr/>
    </dgm:pt>
    <dgm:pt modelId="{DC6F7B37-34F2-4277-946D-4B932E18A670}" type="pres">
      <dgm:prSet presAssocID="{909ADC6A-E915-4B99-95BB-252F86DBDCF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3ACA5618-04E9-411D-AB9D-F42284B105DB}" srcId="{0DFA6A40-8885-469C-88D0-32E0B32DC0F7}" destId="{A3376E40-214E-4308-8B20-A15D3D24176B}" srcOrd="2" destOrd="0" parTransId="{798879FB-42CA-47E4-9206-7A64E127ADCD}" sibTransId="{7B78D8E3-7E5F-4B3D-A43F-177EBA82C6C6}"/>
    <dgm:cxn modelId="{323A4225-F6F1-4B29-8FE1-7036E8DD85BE}" type="presOf" srcId="{49437F80-A870-49D2-BA55-4F851A06CF1E}" destId="{BE2BC559-4390-4B5C-853B-DD8F46E180FF}" srcOrd="0" destOrd="0" presId="urn:microsoft.com/office/officeart/2005/8/layout/hChevron3"/>
    <dgm:cxn modelId="{1896F66B-B8A3-47AD-87CD-0F4322EB1AF9}" type="presOf" srcId="{909ADC6A-E915-4B99-95BB-252F86DBDCF6}" destId="{DC6F7B37-34F2-4277-946D-4B932E18A670}" srcOrd="0" destOrd="0" presId="urn:microsoft.com/office/officeart/2005/8/layout/hChevron3"/>
    <dgm:cxn modelId="{4CFF8E6E-F994-4C17-92B8-22B285BAA15A}" srcId="{0DFA6A40-8885-469C-88D0-32E0B32DC0F7}" destId="{909ADC6A-E915-4B99-95BB-252F86DBDCF6}" srcOrd="3" destOrd="0" parTransId="{C1EA1D7E-0DCE-4C13-A429-6FB8C25255D9}" sibTransId="{61AE00DF-906C-4DB6-B7CF-B20AE7D2FBB1}"/>
    <dgm:cxn modelId="{DBAB7259-98A6-4F46-B162-F24CAA2F55E4}" srcId="{0DFA6A40-8885-469C-88D0-32E0B32DC0F7}" destId="{49437F80-A870-49D2-BA55-4F851A06CF1E}" srcOrd="0" destOrd="0" parTransId="{5DCEFBB2-6FBD-49BE-AE91-CA474B85BFF3}" sibTransId="{2B9F21C4-34FC-44F5-BE1A-E59ED09B5C43}"/>
    <dgm:cxn modelId="{EB6E58A8-6823-4FEF-80E7-20DCEFBD3BD4}" srcId="{0DFA6A40-8885-469C-88D0-32E0B32DC0F7}" destId="{8AFC980B-7A58-4A71-8CAE-52CC471AC4FB}" srcOrd="1" destOrd="0" parTransId="{AB0557BB-592B-425C-BD26-DA0BE8931A38}" sibTransId="{026E5149-EC03-49B5-AC49-8D20270BC0C7}"/>
    <dgm:cxn modelId="{C4B4C1AF-1088-4537-9425-A135E9E249BD}" type="presOf" srcId="{0DFA6A40-8885-469C-88D0-32E0B32DC0F7}" destId="{D3F2DE09-0F4D-4D57-8B4E-01791C4FFC67}" srcOrd="0" destOrd="0" presId="urn:microsoft.com/office/officeart/2005/8/layout/hChevron3"/>
    <dgm:cxn modelId="{B3D044C7-1EB9-487E-B3BB-5A19B12BFA39}" type="presOf" srcId="{8AFC980B-7A58-4A71-8CAE-52CC471AC4FB}" destId="{AE3962E1-8607-49A0-BAFE-3325C6C94461}" srcOrd="0" destOrd="0" presId="urn:microsoft.com/office/officeart/2005/8/layout/hChevron3"/>
    <dgm:cxn modelId="{2351F9DC-D995-4ED0-851A-91D6DE93CE29}" type="presOf" srcId="{A3376E40-214E-4308-8B20-A15D3D24176B}" destId="{721440E5-A79D-48AF-B4A8-D949DA611B75}" srcOrd="0" destOrd="0" presId="urn:microsoft.com/office/officeart/2005/8/layout/hChevron3"/>
    <dgm:cxn modelId="{2EDFDE8D-F9E2-4D83-852D-68F25AE14DA5}" type="presParOf" srcId="{D3F2DE09-0F4D-4D57-8B4E-01791C4FFC67}" destId="{BE2BC559-4390-4B5C-853B-DD8F46E180FF}" srcOrd="0" destOrd="0" presId="urn:microsoft.com/office/officeart/2005/8/layout/hChevron3"/>
    <dgm:cxn modelId="{138028F5-52FB-4BA2-85ED-89B2023D23DE}" type="presParOf" srcId="{D3F2DE09-0F4D-4D57-8B4E-01791C4FFC67}" destId="{D2A9B2CA-E4F1-40CB-AB7A-B07EB3F29C94}" srcOrd="1" destOrd="0" presId="urn:microsoft.com/office/officeart/2005/8/layout/hChevron3"/>
    <dgm:cxn modelId="{2A94AE6C-570D-443C-A3C3-D8075ABE9F80}" type="presParOf" srcId="{D3F2DE09-0F4D-4D57-8B4E-01791C4FFC67}" destId="{AE3962E1-8607-49A0-BAFE-3325C6C94461}" srcOrd="2" destOrd="0" presId="urn:microsoft.com/office/officeart/2005/8/layout/hChevron3"/>
    <dgm:cxn modelId="{53378755-3330-419B-BDA5-A11EA53E0BDB}" type="presParOf" srcId="{D3F2DE09-0F4D-4D57-8B4E-01791C4FFC67}" destId="{38CD24BD-E345-4B1A-B235-3405E5AABD9A}" srcOrd="3" destOrd="0" presId="urn:microsoft.com/office/officeart/2005/8/layout/hChevron3"/>
    <dgm:cxn modelId="{F18653A3-A28F-4377-8694-2499E734E675}" type="presParOf" srcId="{D3F2DE09-0F4D-4D57-8B4E-01791C4FFC67}" destId="{721440E5-A79D-48AF-B4A8-D949DA611B75}" srcOrd="4" destOrd="0" presId="urn:microsoft.com/office/officeart/2005/8/layout/hChevron3"/>
    <dgm:cxn modelId="{5CE28E6F-5E90-459E-BB05-D212BAA7474D}" type="presParOf" srcId="{D3F2DE09-0F4D-4D57-8B4E-01791C4FFC67}" destId="{727D2074-390F-4754-9C49-6910F3C4F253}" srcOrd="5" destOrd="0" presId="urn:microsoft.com/office/officeart/2005/8/layout/hChevron3"/>
    <dgm:cxn modelId="{BE422F07-6A63-4767-85F7-41BD94349F17}" type="presParOf" srcId="{D3F2DE09-0F4D-4D57-8B4E-01791C4FFC67}" destId="{DC6F7B37-34F2-4277-946D-4B932E18A670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3BA05D7-CF88-4EF8-AF5B-7BD8508261FF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723DE553-7DBE-4823-BAF7-8D3BA2CAAABC}">
      <dgm:prSet phldrT="[Текст]"/>
      <dgm:spPr/>
      <dgm:t>
        <a:bodyPr/>
        <a:lstStyle/>
        <a:p>
          <a:r>
            <a:rPr lang="ru-RU" dirty="0">
              <a:solidFill>
                <a:schemeClr val="tx1"/>
              </a:solidFill>
            </a:rPr>
            <a:t>По каждому показателю </a:t>
          </a:r>
        </a:p>
      </dgm:t>
    </dgm:pt>
    <dgm:pt modelId="{F69C7155-8F03-4056-8719-7D3B82312D32}" type="parTrans" cxnId="{5D8A4BEB-10D3-4BA5-9AF3-434B6BF25442}">
      <dgm:prSet/>
      <dgm:spPr/>
      <dgm:t>
        <a:bodyPr/>
        <a:lstStyle/>
        <a:p>
          <a:endParaRPr lang="ru-RU"/>
        </a:p>
      </dgm:t>
    </dgm:pt>
    <dgm:pt modelId="{F49020ED-3F13-4B04-A5EC-F523698318DF}" type="sibTrans" cxnId="{5D8A4BEB-10D3-4BA5-9AF3-434B6BF25442}">
      <dgm:prSet/>
      <dgm:spPr/>
      <dgm:t>
        <a:bodyPr/>
        <a:lstStyle/>
        <a:p>
          <a:endParaRPr lang="ru-RU"/>
        </a:p>
      </dgm:t>
    </dgm:pt>
    <dgm:pt modelId="{AA533702-1D3C-4BCA-B288-6914E344B834}">
      <dgm:prSet phldrT="[Текст]"/>
      <dgm:spPr/>
      <dgm:t>
        <a:bodyPr/>
        <a:lstStyle/>
        <a:p>
          <a:r>
            <a:rPr lang="ru-RU" dirty="0">
              <a:solidFill>
                <a:schemeClr val="tx1"/>
              </a:solidFill>
            </a:rPr>
            <a:t>Образовательные организации  </a:t>
          </a:r>
        </a:p>
      </dgm:t>
    </dgm:pt>
    <dgm:pt modelId="{7C0D94AE-1321-45B5-A3BE-73D5BDA4DBA2}" type="parTrans" cxnId="{562F781B-4F33-496D-A690-FBA0BBD11147}">
      <dgm:prSet/>
      <dgm:spPr/>
      <dgm:t>
        <a:bodyPr/>
        <a:lstStyle/>
        <a:p>
          <a:endParaRPr lang="ru-RU"/>
        </a:p>
      </dgm:t>
    </dgm:pt>
    <dgm:pt modelId="{285275A0-233A-4A5F-B51F-A850C5BF0EF1}" type="sibTrans" cxnId="{562F781B-4F33-496D-A690-FBA0BBD11147}">
      <dgm:prSet/>
      <dgm:spPr/>
      <dgm:t>
        <a:bodyPr/>
        <a:lstStyle/>
        <a:p>
          <a:endParaRPr lang="ru-RU"/>
        </a:p>
      </dgm:t>
    </dgm:pt>
    <dgm:pt modelId="{9B8FCDDB-A42F-4069-9C4B-FE4EA37FC1FB}">
      <dgm:prSet phldrT="[Текст]"/>
      <dgm:spPr/>
      <dgm:t>
        <a:bodyPr/>
        <a:lstStyle/>
        <a:p>
          <a:r>
            <a:rPr lang="ru-RU" dirty="0">
              <a:solidFill>
                <a:schemeClr val="tx1"/>
              </a:solidFill>
            </a:rPr>
            <a:t>Образовательные</a:t>
          </a:r>
          <a:r>
            <a:rPr lang="ru-RU" baseline="0" dirty="0">
              <a:solidFill>
                <a:schemeClr val="tx1"/>
              </a:solidFill>
            </a:rPr>
            <a:t> программы </a:t>
          </a:r>
          <a:endParaRPr lang="ru-RU" dirty="0">
            <a:solidFill>
              <a:schemeClr val="tx1"/>
            </a:solidFill>
          </a:endParaRPr>
        </a:p>
      </dgm:t>
    </dgm:pt>
    <dgm:pt modelId="{001347CD-7DE5-40AB-B0E6-6EBC4727D7C2}" type="parTrans" cxnId="{05313936-C3F6-4E3A-A8F8-51FB21356330}">
      <dgm:prSet/>
      <dgm:spPr/>
      <dgm:t>
        <a:bodyPr/>
        <a:lstStyle/>
        <a:p>
          <a:endParaRPr lang="ru-RU"/>
        </a:p>
      </dgm:t>
    </dgm:pt>
    <dgm:pt modelId="{C7318D2B-07FB-4885-8BB1-9181E9273E32}" type="sibTrans" cxnId="{05313936-C3F6-4E3A-A8F8-51FB21356330}">
      <dgm:prSet/>
      <dgm:spPr/>
      <dgm:t>
        <a:bodyPr/>
        <a:lstStyle/>
        <a:p>
          <a:endParaRPr lang="ru-RU"/>
        </a:p>
      </dgm:t>
    </dgm:pt>
    <dgm:pt modelId="{6389E3CF-5C77-4D45-8E5F-1EEA7EEB9902}">
      <dgm:prSet phldrT="[Текст]"/>
      <dgm:spPr/>
      <dgm:t>
        <a:bodyPr/>
        <a:lstStyle/>
        <a:p>
          <a:r>
            <a:rPr lang="ru-RU" dirty="0">
              <a:solidFill>
                <a:schemeClr val="tx1"/>
              </a:solidFill>
            </a:rPr>
            <a:t>УГСН</a:t>
          </a:r>
        </a:p>
      </dgm:t>
    </dgm:pt>
    <dgm:pt modelId="{53D2BED9-9B4B-4032-9D5E-E90DA60A7E41}" type="parTrans" cxnId="{8545E976-372B-4BA0-920F-A5FEA3F9BB6B}">
      <dgm:prSet/>
      <dgm:spPr/>
      <dgm:t>
        <a:bodyPr/>
        <a:lstStyle/>
        <a:p>
          <a:endParaRPr lang="ru-RU"/>
        </a:p>
      </dgm:t>
    </dgm:pt>
    <dgm:pt modelId="{9603F2F8-23EB-4287-89E7-9F16BB9548C7}" type="sibTrans" cxnId="{8545E976-372B-4BA0-920F-A5FEA3F9BB6B}">
      <dgm:prSet/>
      <dgm:spPr/>
      <dgm:t>
        <a:bodyPr/>
        <a:lstStyle/>
        <a:p>
          <a:endParaRPr lang="ru-RU"/>
        </a:p>
      </dgm:t>
    </dgm:pt>
    <dgm:pt modelId="{379A997E-A9A3-4ECB-BEB1-36308D8A0BAF}">
      <dgm:prSet/>
      <dgm:spPr/>
      <dgm:t>
        <a:bodyPr/>
        <a:lstStyle/>
        <a:p>
          <a:r>
            <a:rPr lang="ru-RU" dirty="0">
              <a:solidFill>
                <a:schemeClr val="tx1"/>
              </a:solidFill>
            </a:rPr>
            <a:t>Регионы</a:t>
          </a:r>
        </a:p>
      </dgm:t>
    </dgm:pt>
    <dgm:pt modelId="{FC893E81-3278-42AC-8211-D89EF391F16E}" type="parTrans" cxnId="{9BC23D69-496F-44A5-BB74-A9F98E80C054}">
      <dgm:prSet/>
      <dgm:spPr/>
      <dgm:t>
        <a:bodyPr/>
        <a:lstStyle/>
        <a:p>
          <a:endParaRPr lang="ru-RU"/>
        </a:p>
      </dgm:t>
    </dgm:pt>
    <dgm:pt modelId="{E2BBBED4-4042-4C1C-858E-14224106B8E5}" type="sibTrans" cxnId="{9BC23D69-496F-44A5-BB74-A9F98E80C054}">
      <dgm:prSet/>
      <dgm:spPr/>
      <dgm:t>
        <a:bodyPr/>
        <a:lstStyle/>
        <a:p>
          <a:endParaRPr lang="ru-RU"/>
        </a:p>
      </dgm:t>
    </dgm:pt>
    <dgm:pt modelId="{E411E47F-C611-4AEF-8E40-153925ACB961}">
      <dgm:prSet/>
      <dgm:spPr>
        <a:solidFill>
          <a:srgbClr val="FFC000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По пороговому значению </a:t>
          </a:r>
        </a:p>
      </dgm:t>
    </dgm:pt>
    <dgm:pt modelId="{AAA8ECCC-4E9B-438C-BE8F-1CF1D4CE9F60}" type="parTrans" cxnId="{0DAD2BD2-85AE-4A59-A86A-FCE5385803EA}">
      <dgm:prSet/>
      <dgm:spPr/>
      <dgm:t>
        <a:bodyPr/>
        <a:lstStyle/>
        <a:p>
          <a:endParaRPr lang="ru-RU"/>
        </a:p>
      </dgm:t>
    </dgm:pt>
    <dgm:pt modelId="{9F91E6C0-29A3-4D56-8F04-6AE825D993C5}" type="sibTrans" cxnId="{0DAD2BD2-85AE-4A59-A86A-FCE5385803EA}">
      <dgm:prSet/>
      <dgm:spPr/>
      <dgm:t>
        <a:bodyPr/>
        <a:lstStyle/>
        <a:p>
          <a:endParaRPr lang="ru-RU"/>
        </a:p>
      </dgm:t>
    </dgm:pt>
    <dgm:pt modelId="{89EE6783-7493-4E90-B25C-1249CD1A7DFF}" type="pres">
      <dgm:prSet presAssocID="{43BA05D7-CF88-4EF8-AF5B-7BD8508261FF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3C79A4F-E2E0-4CB2-A08E-1087457E62AC}" type="pres">
      <dgm:prSet presAssocID="{723DE553-7DBE-4823-BAF7-8D3BA2CAAABC}" presName="root1" presStyleCnt="0"/>
      <dgm:spPr/>
    </dgm:pt>
    <dgm:pt modelId="{720B800B-3A8E-4223-9CF2-A5933F2163FD}" type="pres">
      <dgm:prSet presAssocID="{723DE553-7DBE-4823-BAF7-8D3BA2CAAABC}" presName="LevelOneTextNode" presStyleLbl="node0" presStyleIdx="0" presStyleCnt="2" custAng="5400000" custScaleY="34605" custLinFactNeighborX="-2543" custLinFactNeighborY="-14745">
        <dgm:presLayoutVars>
          <dgm:chPref val="3"/>
        </dgm:presLayoutVars>
      </dgm:prSet>
      <dgm:spPr/>
    </dgm:pt>
    <dgm:pt modelId="{56719AC7-7E65-4990-B256-656121DD0CFB}" type="pres">
      <dgm:prSet presAssocID="{723DE553-7DBE-4823-BAF7-8D3BA2CAAABC}" presName="level2hierChild" presStyleCnt="0"/>
      <dgm:spPr/>
    </dgm:pt>
    <dgm:pt modelId="{EF2B4DDA-936C-4AA5-B864-D171759EC737}" type="pres">
      <dgm:prSet presAssocID="{7C0D94AE-1321-45B5-A3BE-73D5BDA4DBA2}" presName="conn2-1" presStyleLbl="parChTrans1D2" presStyleIdx="0" presStyleCnt="4"/>
      <dgm:spPr/>
    </dgm:pt>
    <dgm:pt modelId="{C7E2BA0D-881A-4BEB-BFC0-A58EC019EBEC}" type="pres">
      <dgm:prSet presAssocID="{7C0D94AE-1321-45B5-A3BE-73D5BDA4DBA2}" presName="connTx" presStyleLbl="parChTrans1D2" presStyleIdx="0" presStyleCnt="4"/>
      <dgm:spPr/>
    </dgm:pt>
    <dgm:pt modelId="{312287B0-6570-46ED-A223-F296F33F75B0}" type="pres">
      <dgm:prSet presAssocID="{AA533702-1D3C-4BCA-B288-6914E344B834}" presName="root2" presStyleCnt="0"/>
      <dgm:spPr/>
    </dgm:pt>
    <dgm:pt modelId="{58103ACE-19CF-4966-BBC1-BD9CDFBAF1B7}" type="pres">
      <dgm:prSet presAssocID="{AA533702-1D3C-4BCA-B288-6914E344B834}" presName="LevelTwoTextNode" presStyleLbl="node2" presStyleIdx="0" presStyleCnt="4" custLinFactNeighborX="-339" custLinFactNeighborY="1111">
        <dgm:presLayoutVars>
          <dgm:chPref val="3"/>
        </dgm:presLayoutVars>
      </dgm:prSet>
      <dgm:spPr/>
    </dgm:pt>
    <dgm:pt modelId="{F43E9CCB-A6EE-4C3C-A327-809B001A370E}" type="pres">
      <dgm:prSet presAssocID="{AA533702-1D3C-4BCA-B288-6914E344B834}" presName="level3hierChild" presStyleCnt="0"/>
      <dgm:spPr/>
    </dgm:pt>
    <dgm:pt modelId="{61837361-AAA6-47C0-B8E2-B3317CA65310}" type="pres">
      <dgm:prSet presAssocID="{001347CD-7DE5-40AB-B0E6-6EBC4727D7C2}" presName="conn2-1" presStyleLbl="parChTrans1D2" presStyleIdx="1" presStyleCnt="4"/>
      <dgm:spPr/>
    </dgm:pt>
    <dgm:pt modelId="{18ECE659-F46B-462B-A964-1433581FD255}" type="pres">
      <dgm:prSet presAssocID="{001347CD-7DE5-40AB-B0E6-6EBC4727D7C2}" presName="connTx" presStyleLbl="parChTrans1D2" presStyleIdx="1" presStyleCnt="4"/>
      <dgm:spPr/>
    </dgm:pt>
    <dgm:pt modelId="{D933D5B6-14FF-4C70-B165-76FE9DC9DEFD}" type="pres">
      <dgm:prSet presAssocID="{9B8FCDDB-A42F-4069-9C4B-FE4EA37FC1FB}" presName="root2" presStyleCnt="0"/>
      <dgm:spPr/>
    </dgm:pt>
    <dgm:pt modelId="{4FD5E21A-70CA-4088-A238-8B601F6AACFB}" type="pres">
      <dgm:prSet presAssocID="{9B8FCDDB-A42F-4069-9C4B-FE4EA37FC1FB}" presName="LevelTwoTextNode" presStyleLbl="node2" presStyleIdx="1" presStyleCnt="4">
        <dgm:presLayoutVars>
          <dgm:chPref val="3"/>
        </dgm:presLayoutVars>
      </dgm:prSet>
      <dgm:spPr/>
    </dgm:pt>
    <dgm:pt modelId="{2A602A06-2D4A-4677-85F9-65EBE63928DA}" type="pres">
      <dgm:prSet presAssocID="{9B8FCDDB-A42F-4069-9C4B-FE4EA37FC1FB}" presName="level3hierChild" presStyleCnt="0"/>
      <dgm:spPr/>
    </dgm:pt>
    <dgm:pt modelId="{FB3D19E2-105B-424B-B0E5-533FBBEB9B8D}" type="pres">
      <dgm:prSet presAssocID="{53D2BED9-9B4B-4032-9D5E-E90DA60A7E41}" presName="conn2-1" presStyleLbl="parChTrans1D2" presStyleIdx="2" presStyleCnt="4"/>
      <dgm:spPr/>
    </dgm:pt>
    <dgm:pt modelId="{957C198D-F3F8-48F3-9FAB-E63F8303C309}" type="pres">
      <dgm:prSet presAssocID="{53D2BED9-9B4B-4032-9D5E-E90DA60A7E41}" presName="connTx" presStyleLbl="parChTrans1D2" presStyleIdx="2" presStyleCnt="4"/>
      <dgm:spPr/>
    </dgm:pt>
    <dgm:pt modelId="{6767FD60-621A-4471-A9E7-15D44167DDAD}" type="pres">
      <dgm:prSet presAssocID="{6389E3CF-5C77-4D45-8E5F-1EEA7EEB9902}" presName="root2" presStyleCnt="0"/>
      <dgm:spPr/>
    </dgm:pt>
    <dgm:pt modelId="{5EA85CA0-29CE-4E98-A53F-7A939C606CBE}" type="pres">
      <dgm:prSet presAssocID="{6389E3CF-5C77-4D45-8E5F-1EEA7EEB9902}" presName="LevelTwoTextNode" presStyleLbl="node2" presStyleIdx="2" presStyleCnt="4">
        <dgm:presLayoutVars>
          <dgm:chPref val="3"/>
        </dgm:presLayoutVars>
      </dgm:prSet>
      <dgm:spPr/>
    </dgm:pt>
    <dgm:pt modelId="{2ECE0EE2-72DC-4A9B-B20F-D9961CE7870B}" type="pres">
      <dgm:prSet presAssocID="{6389E3CF-5C77-4D45-8E5F-1EEA7EEB9902}" presName="level3hierChild" presStyleCnt="0"/>
      <dgm:spPr/>
    </dgm:pt>
    <dgm:pt modelId="{56993446-8185-470B-A5D0-9BA4F0A68AC9}" type="pres">
      <dgm:prSet presAssocID="{FC893E81-3278-42AC-8211-D89EF391F16E}" presName="conn2-1" presStyleLbl="parChTrans1D2" presStyleIdx="3" presStyleCnt="4"/>
      <dgm:spPr/>
    </dgm:pt>
    <dgm:pt modelId="{8CD0E398-B278-4303-A7AE-50BECA3BAD28}" type="pres">
      <dgm:prSet presAssocID="{FC893E81-3278-42AC-8211-D89EF391F16E}" presName="connTx" presStyleLbl="parChTrans1D2" presStyleIdx="3" presStyleCnt="4"/>
      <dgm:spPr/>
    </dgm:pt>
    <dgm:pt modelId="{7F6957C6-EE32-4888-8A82-0D1472BBCDE9}" type="pres">
      <dgm:prSet presAssocID="{379A997E-A9A3-4ECB-BEB1-36308D8A0BAF}" presName="root2" presStyleCnt="0"/>
      <dgm:spPr/>
    </dgm:pt>
    <dgm:pt modelId="{84DA807D-A9F6-4209-A643-692B8E48FD2F}" type="pres">
      <dgm:prSet presAssocID="{379A997E-A9A3-4ECB-BEB1-36308D8A0BAF}" presName="LevelTwoTextNode" presStyleLbl="node2" presStyleIdx="3" presStyleCnt="4">
        <dgm:presLayoutVars>
          <dgm:chPref val="3"/>
        </dgm:presLayoutVars>
      </dgm:prSet>
      <dgm:spPr/>
    </dgm:pt>
    <dgm:pt modelId="{3B935CA8-0744-4A27-A4CD-44DC2E41BD4B}" type="pres">
      <dgm:prSet presAssocID="{379A997E-A9A3-4ECB-BEB1-36308D8A0BAF}" presName="level3hierChild" presStyleCnt="0"/>
      <dgm:spPr/>
    </dgm:pt>
    <dgm:pt modelId="{9D1CEA25-A759-4716-B611-5C6F1E439BB1}" type="pres">
      <dgm:prSet presAssocID="{E411E47F-C611-4AEF-8E40-153925ACB961}" presName="root1" presStyleCnt="0"/>
      <dgm:spPr/>
    </dgm:pt>
    <dgm:pt modelId="{729A3E62-B2D1-4640-A25F-3A0C5581E0F7}" type="pres">
      <dgm:prSet presAssocID="{E411E47F-C611-4AEF-8E40-153925ACB961}" presName="LevelOneTextNode" presStyleLbl="node0" presStyleIdx="1" presStyleCnt="2" custAng="5400000" custScaleY="35927" custLinFactNeighborX="-7" custLinFactNeighborY="-27090">
        <dgm:presLayoutVars>
          <dgm:chPref val="3"/>
        </dgm:presLayoutVars>
      </dgm:prSet>
      <dgm:spPr/>
    </dgm:pt>
    <dgm:pt modelId="{E11A7AA0-1F00-4080-9DAC-27D1395A0888}" type="pres">
      <dgm:prSet presAssocID="{E411E47F-C611-4AEF-8E40-153925ACB961}" presName="level2hierChild" presStyleCnt="0"/>
      <dgm:spPr/>
    </dgm:pt>
  </dgm:ptLst>
  <dgm:cxnLst>
    <dgm:cxn modelId="{7C2E1909-57D9-40A0-B452-C7846B5F99C9}" type="presOf" srcId="{6389E3CF-5C77-4D45-8E5F-1EEA7EEB9902}" destId="{5EA85CA0-29CE-4E98-A53F-7A939C606CBE}" srcOrd="0" destOrd="0" presId="urn:microsoft.com/office/officeart/2008/layout/HorizontalMultiLevelHierarchy"/>
    <dgm:cxn modelId="{562F781B-4F33-496D-A690-FBA0BBD11147}" srcId="{723DE553-7DBE-4823-BAF7-8D3BA2CAAABC}" destId="{AA533702-1D3C-4BCA-B288-6914E344B834}" srcOrd="0" destOrd="0" parTransId="{7C0D94AE-1321-45B5-A3BE-73D5BDA4DBA2}" sibTransId="{285275A0-233A-4A5F-B51F-A850C5BF0EF1}"/>
    <dgm:cxn modelId="{00EC452B-B1FE-44EC-9A25-D603A3F2BB8D}" type="presOf" srcId="{53D2BED9-9B4B-4032-9D5E-E90DA60A7E41}" destId="{FB3D19E2-105B-424B-B0E5-533FBBEB9B8D}" srcOrd="0" destOrd="0" presId="urn:microsoft.com/office/officeart/2008/layout/HorizontalMultiLevelHierarchy"/>
    <dgm:cxn modelId="{A64B2B34-8EC4-4962-8044-6D77F948260B}" type="presOf" srcId="{001347CD-7DE5-40AB-B0E6-6EBC4727D7C2}" destId="{61837361-AAA6-47C0-B8E2-B3317CA65310}" srcOrd="0" destOrd="0" presId="urn:microsoft.com/office/officeart/2008/layout/HorizontalMultiLevelHierarchy"/>
    <dgm:cxn modelId="{05313936-C3F6-4E3A-A8F8-51FB21356330}" srcId="{723DE553-7DBE-4823-BAF7-8D3BA2CAAABC}" destId="{9B8FCDDB-A42F-4069-9C4B-FE4EA37FC1FB}" srcOrd="1" destOrd="0" parTransId="{001347CD-7DE5-40AB-B0E6-6EBC4727D7C2}" sibTransId="{C7318D2B-07FB-4885-8BB1-9181E9273E32}"/>
    <dgm:cxn modelId="{A8BD3B37-0761-4640-85FA-A0309A696D9B}" type="presOf" srcId="{AA533702-1D3C-4BCA-B288-6914E344B834}" destId="{58103ACE-19CF-4966-BBC1-BD9CDFBAF1B7}" srcOrd="0" destOrd="0" presId="urn:microsoft.com/office/officeart/2008/layout/HorizontalMultiLevelHierarchy"/>
    <dgm:cxn modelId="{A30A7C63-9E38-4309-8D7D-D114DAD60B17}" type="presOf" srcId="{7C0D94AE-1321-45B5-A3BE-73D5BDA4DBA2}" destId="{EF2B4DDA-936C-4AA5-B864-D171759EC737}" srcOrd="0" destOrd="0" presId="urn:microsoft.com/office/officeart/2008/layout/HorizontalMultiLevelHierarchy"/>
    <dgm:cxn modelId="{9BC23D69-496F-44A5-BB74-A9F98E80C054}" srcId="{723DE553-7DBE-4823-BAF7-8D3BA2CAAABC}" destId="{379A997E-A9A3-4ECB-BEB1-36308D8A0BAF}" srcOrd="3" destOrd="0" parTransId="{FC893E81-3278-42AC-8211-D89EF391F16E}" sibTransId="{E2BBBED4-4042-4C1C-858E-14224106B8E5}"/>
    <dgm:cxn modelId="{16215E4B-381C-45DB-A2D8-657229E99EF2}" type="presOf" srcId="{001347CD-7DE5-40AB-B0E6-6EBC4727D7C2}" destId="{18ECE659-F46B-462B-A964-1433581FD255}" srcOrd="1" destOrd="0" presId="urn:microsoft.com/office/officeart/2008/layout/HorizontalMultiLevelHierarchy"/>
    <dgm:cxn modelId="{8545E976-372B-4BA0-920F-A5FEA3F9BB6B}" srcId="{723DE553-7DBE-4823-BAF7-8D3BA2CAAABC}" destId="{6389E3CF-5C77-4D45-8E5F-1EEA7EEB9902}" srcOrd="2" destOrd="0" parTransId="{53D2BED9-9B4B-4032-9D5E-E90DA60A7E41}" sibTransId="{9603F2F8-23EB-4287-89E7-9F16BB9548C7}"/>
    <dgm:cxn modelId="{50703B5A-424A-410F-AAEF-BE730E3D35E0}" type="presOf" srcId="{53D2BED9-9B4B-4032-9D5E-E90DA60A7E41}" destId="{957C198D-F3F8-48F3-9FAB-E63F8303C309}" srcOrd="1" destOrd="0" presId="urn:microsoft.com/office/officeart/2008/layout/HorizontalMultiLevelHierarchy"/>
    <dgm:cxn modelId="{85474E9A-EC80-4EFF-AB83-DECEFCACABA8}" type="presOf" srcId="{9B8FCDDB-A42F-4069-9C4B-FE4EA37FC1FB}" destId="{4FD5E21A-70CA-4088-A238-8B601F6AACFB}" srcOrd="0" destOrd="0" presId="urn:microsoft.com/office/officeart/2008/layout/HorizontalMultiLevelHierarchy"/>
    <dgm:cxn modelId="{01DEC0AE-FCBF-4B13-BA0E-7CE6BC4954B5}" type="presOf" srcId="{723DE553-7DBE-4823-BAF7-8D3BA2CAAABC}" destId="{720B800B-3A8E-4223-9CF2-A5933F2163FD}" srcOrd="0" destOrd="0" presId="urn:microsoft.com/office/officeart/2008/layout/HorizontalMultiLevelHierarchy"/>
    <dgm:cxn modelId="{DB1ED6B2-88E3-44DB-A62E-F1659C493B4A}" type="presOf" srcId="{FC893E81-3278-42AC-8211-D89EF391F16E}" destId="{8CD0E398-B278-4303-A7AE-50BECA3BAD28}" srcOrd="1" destOrd="0" presId="urn:microsoft.com/office/officeart/2008/layout/HorizontalMultiLevelHierarchy"/>
    <dgm:cxn modelId="{0DAD2BD2-85AE-4A59-A86A-FCE5385803EA}" srcId="{43BA05D7-CF88-4EF8-AF5B-7BD8508261FF}" destId="{E411E47F-C611-4AEF-8E40-153925ACB961}" srcOrd="1" destOrd="0" parTransId="{AAA8ECCC-4E9B-438C-BE8F-1CF1D4CE9F60}" sibTransId="{9F91E6C0-29A3-4D56-8F04-6AE825D993C5}"/>
    <dgm:cxn modelId="{D112B7D3-F0B6-481E-8D49-1F7240EB0634}" type="presOf" srcId="{43BA05D7-CF88-4EF8-AF5B-7BD8508261FF}" destId="{89EE6783-7493-4E90-B25C-1249CD1A7DFF}" srcOrd="0" destOrd="0" presId="urn:microsoft.com/office/officeart/2008/layout/HorizontalMultiLevelHierarchy"/>
    <dgm:cxn modelId="{77759FD4-D8D9-412B-996F-374829033047}" type="presOf" srcId="{FC893E81-3278-42AC-8211-D89EF391F16E}" destId="{56993446-8185-470B-A5D0-9BA4F0A68AC9}" srcOrd="0" destOrd="0" presId="urn:microsoft.com/office/officeart/2008/layout/HorizontalMultiLevelHierarchy"/>
    <dgm:cxn modelId="{31B995DE-43F6-4509-95CE-27ABF42C4E62}" type="presOf" srcId="{E411E47F-C611-4AEF-8E40-153925ACB961}" destId="{729A3E62-B2D1-4640-A25F-3A0C5581E0F7}" srcOrd="0" destOrd="0" presId="urn:microsoft.com/office/officeart/2008/layout/HorizontalMultiLevelHierarchy"/>
    <dgm:cxn modelId="{5D8A4BEB-10D3-4BA5-9AF3-434B6BF25442}" srcId="{43BA05D7-CF88-4EF8-AF5B-7BD8508261FF}" destId="{723DE553-7DBE-4823-BAF7-8D3BA2CAAABC}" srcOrd="0" destOrd="0" parTransId="{F69C7155-8F03-4056-8719-7D3B82312D32}" sibTransId="{F49020ED-3F13-4B04-A5EC-F523698318DF}"/>
    <dgm:cxn modelId="{EB3058F1-A584-449B-A054-81D2057DD544}" type="presOf" srcId="{7C0D94AE-1321-45B5-A3BE-73D5BDA4DBA2}" destId="{C7E2BA0D-881A-4BEB-BFC0-A58EC019EBEC}" srcOrd="1" destOrd="0" presId="urn:microsoft.com/office/officeart/2008/layout/HorizontalMultiLevelHierarchy"/>
    <dgm:cxn modelId="{CBEB7BF8-583C-41A7-B291-C7F610947D24}" type="presOf" srcId="{379A997E-A9A3-4ECB-BEB1-36308D8A0BAF}" destId="{84DA807D-A9F6-4209-A643-692B8E48FD2F}" srcOrd="0" destOrd="0" presId="urn:microsoft.com/office/officeart/2008/layout/HorizontalMultiLevelHierarchy"/>
    <dgm:cxn modelId="{F5A44C0A-1AA3-41F4-8E0C-9FBB88A59825}" type="presParOf" srcId="{89EE6783-7493-4E90-B25C-1249CD1A7DFF}" destId="{C3C79A4F-E2E0-4CB2-A08E-1087457E62AC}" srcOrd="0" destOrd="0" presId="urn:microsoft.com/office/officeart/2008/layout/HorizontalMultiLevelHierarchy"/>
    <dgm:cxn modelId="{8CAE6329-B4A8-478B-84BC-782DB39CA0EA}" type="presParOf" srcId="{C3C79A4F-E2E0-4CB2-A08E-1087457E62AC}" destId="{720B800B-3A8E-4223-9CF2-A5933F2163FD}" srcOrd="0" destOrd="0" presId="urn:microsoft.com/office/officeart/2008/layout/HorizontalMultiLevelHierarchy"/>
    <dgm:cxn modelId="{87049A60-FB7E-4820-A053-3B67F7FB7720}" type="presParOf" srcId="{C3C79A4F-E2E0-4CB2-A08E-1087457E62AC}" destId="{56719AC7-7E65-4990-B256-656121DD0CFB}" srcOrd="1" destOrd="0" presId="urn:microsoft.com/office/officeart/2008/layout/HorizontalMultiLevelHierarchy"/>
    <dgm:cxn modelId="{CC626F8D-E565-473F-B37B-A723EF34CB10}" type="presParOf" srcId="{56719AC7-7E65-4990-B256-656121DD0CFB}" destId="{EF2B4DDA-936C-4AA5-B864-D171759EC737}" srcOrd="0" destOrd="0" presId="urn:microsoft.com/office/officeart/2008/layout/HorizontalMultiLevelHierarchy"/>
    <dgm:cxn modelId="{015B7ACB-78A7-4586-84A1-A9B3C9F528C4}" type="presParOf" srcId="{EF2B4DDA-936C-4AA5-B864-D171759EC737}" destId="{C7E2BA0D-881A-4BEB-BFC0-A58EC019EBEC}" srcOrd="0" destOrd="0" presId="urn:microsoft.com/office/officeart/2008/layout/HorizontalMultiLevelHierarchy"/>
    <dgm:cxn modelId="{AC296A43-F56F-4EA4-A8D0-72A5D26695A7}" type="presParOf" srcId="{56719AC7-7E65-4990-B256-656121DD0CFB}" destId="{312287B0-6570-46ED-A223-F296F33F75B0}" srcOrd="1" destOrd="0" presId="urn:microsoft.com/office/officeart/2008/layout/HorizontalMultiLevelHierarchy"/>
    <dgm:cxn modelId="{36857918-BA1B-4CFC-9BB9-D512670CCF48}" type="presParOf" srcId="{312287B0-6570-46ED-A223-F296F33F75B0}" destId="{58103ACE-19CF-4966-BBC1-BD9CDFBAF1B7}" srcOrd="0" destOrd="0" presId="urn:microsoft.com/office/officeart/2008/layout/HorizontalMultiLevelHierarchy"/>
    <dgm:cxn modelId="{9EC339BC-DEF0-4D14-8052-88650E9509A2}" type="presParOf" srcId="{312287B0-6570-46ED-A223-F296F33F75B0}" destId="{F43E9CCB-A6EE-4C3C-A327-809B001A370E}" srcOrd="1" destOrd="0" presId="urn:microsoft.com/office/officeart/2008/layout/HorizontalMultiLevelHierarchy"/>
    <dgm:cxn modelId="{8BF83F3C-5DBF-4416-A7E6-1E29D1EA4DC2}" type="presParOf" srcId="{56719AC7-7E65-4990-B256-656121DD0CFB}" destId="{61837361-AAA6-47C0-B8E2-B3317CA65310}" srcOrd="2" destOrd="0" presId="urn:microsoft.com/office/officeart/2008/layout/HorizontalMultiLevelHierarchy"/>
    <dgm:cxn modelId="{F5ECD887-41EC-44AC-BED8-60465201BB15}" type="presParOf" srcId="{61837361-AAA6-47C0-B8E2-B3317CA65310}" destId="{18ECE659-F46B-462B-A964-1433581FD255}" srcOrd="0" destOrd="0" presId="urn:microsoft.com/office/officeart/2008/layout/HorizontalMultiLevelHierarchy"/>
    <dgm:cxn modelId="{F7BD1A69-8BB3-4A27-87E8-C930EEA0547E}" type="presParOf" srcId="{56719AC7-7E65-4990-B256-656121DD0CFB}" destId="{D933D5B6-14FF-4C70-B165-76FE9DC9DEFD}" srcOrd="3" destOrd="0" presId="urn:microsoft.com/office/officeart/2008/layout/HorizontalMultiLevelHierarchy"/>
    <dgm:cxn modelId="{B3F64DBF-DFE4-4702-917F-FAD537FA6987}" type="presParOf" srcId="{D933D5B6-14FF-4C70-B165-76FE9DC9DEFD}" destId="{4FD5E21A-70CA-4088-A238-8B601F6AACFB}" srcOrd="0" destOrd="0" presId="urn:microsoft.com/office/officeart/2008/layout/HorizontalMultiLevelHierarchy"/>
    <dgm:cxn modelId="{A6C00BED-09F8-4CAC-A330-3A83A7EA7010}" type="presParOf" srcId="{D933D5B6-14FF-4C70-B165-76FE9DC9DEFD}" destId="{2A602A06-2D4A-4677-85F9-65EBE63928DA}" srcOrd="1" destOrd="0" presId="urn:microsoft.com/office/officeart/2008/layout/HorizontalMultiLevelHierarchy"/>
    <dgm:cxn modelId="{426F7285-7281-4657-9412-03012EC69C22}" type="presParOf" srcId="{56719AC7-7E65-4990-B256-656121DD0CFB}" destId="{FB3D19E2-105B-424B-B0E5-533FBBEB9B8D}" srcOrd="4" destOrd="0" presId="urn:microsoft.com/office/officeart/2008/layout/HorizontalMultiLevelHierarchy"/>
    <dgm:cxn modelId="{DE2915C1-1746-4CEE-85A1-7791A599585D}" type="presParOf" srcId="{FB3D19E2-105B-424B-B0E5-533FBBEB9B8D}" destId="{957C198D-F3F8-48F3-9FAB-E63F8303C309}" srcOrd="0" destOrd="0" presId="urn:microsoft.com/office/officeart/2008/layout/HorizontalMultiLevelHierarchy"/>
    <dgm:cxn modelId="{B6C46CDF-A011-4F07-BEBF-8A04C4039DD9}" type="presParOf" srcId="{56719AC7-7E65-4990-B256-656121DD0CFB}" destId="{6767FD60-621A-4471-A9E7-15D44167DDAD}" srcOrd="5" destOrd="0" presId="urn:microsoft.com/office/officeart/2008/layout/HorizontalMultiLevelHierarchy"/>
    <dgm:cxn modelId="{EF3C9B78-2812-4C01-A403-F5B6E72543EA}" type="presParOf" srcId="{6767FD60-621A-4471-A9E7-15D44167DDAD}" destId="{5EA85CA0-29CE-4E98-A53F-7A939C606CBE}" srcOrd="0" destOrd="0" presId="urn:microsoft.com/office/officeart/2008/layout/HorizontalMultiLevelHierarchy"/>
    <dgm:cxn modelId="{457EC316-8B64-4BBF-853D-67972D31FAE7}" type="presParOf" srcId="{6767FD60-621A-4471-A9E7-15D44167DDAD}" destId="{2ECE0EE2-72DC-4A9B-B20F-D9961CE7870B}" srcOrd="1" destOrd="0" presId="urn:microsoft.com/office/officeart/2008/layout/HorizontalMultiLevelHierarchy"/>
    <dgm:cxn modelId="{B6697E96-3D98-4CFE-9CC9-1FD2B068C5C6}" type="presParOf" srcId="{56719AC7-7E65-4990-B256-656121DD0CFB}" destId="{56993446-8185-470B-A5D0-9BA4F0A68AC9}" srcOrd="6" destOrd="0" presId="urn:microsoft.com/office/officeart/2008/layout/HorizontalMultiLevelHierarchy"/>
    <dgm:cxn modelId="{2040EF8B-9EB9-4A36-B041-AA4499B864E5}" type="presParOf" srcId="{56993446-8185-470B-A5D0-9BA4F0A68AC9}" destId="{8CD0E398-B278-4303-A7AE-50BECA3BAD28}" srcOrd="0" destOrd="0" presId="urn:microsoft.com/office/officeart/2008/layout/HorizontalMultiLevelHierarchy"/>
    <dgm:cxn modelId="{38D766BF-28B3-433E-9E21-7D884E6F0E30}" type="presParOf" srcId="{56719AC7-7E65-4990-B256-656121DD0CFB}" destId="{7F6957C6-EE32-4888-8A82-0D1472BBCDE9}" srcOrd="7" destOrd="0" presId="urn:microsoft.com/office/officeart/2008/layout/HorizontalMultiLevelHierarchy"/>
    <dgm:cxn modelId="{F514981E-2B5E-4418-B2AE-16894BCB66A5}" type="presParOf" srcId="{7F6957C6-EE32-4888-8A82-0D1472BBCDE9}" destId="{84DA807D-A9F6-4209-A643-692B8E48FD2F}" srcOrd="0" destOrd="0" presId="urn:microsoft.com/office/officeart/2008/layout/HorizontalMultiLevelHierarchy"/>
    <dgm:cxn modelId="{7D00E9CC-FA0A-4386-BEAD-86D11A96FF71}" type="presParOf" srcId="{7F6957C6-EE32-4888-8A82-0D1472BBCDE9}" destId="{3B935CA8-0744-4A27-A4CD-44DC2E41BD4B}" srcOrd="1" destOrd="0" presId="urn:microsoft.com/office/officeart/2008/layout/HorizontalMultiLevelHierarchy"/>
    <dgm:cxn modelId="{77F8FF86-B6DC-42E3-A723-FC4DE87E8968}" type="presParOf" srcId="{89EE6783-7493-4E90-B25C-1249CD1A7DFF}" destId="{9D1CEA25-A759-4716-B611-5C6F1E439BB1}" srcOrd="1" destOrd="0" presId="urn:microsoft.com/office/officeart/2008/layout/HorizontalMultiLevelHierarchy"/>
    <dgm:cxn modelId="{8F1CB472-C6CC-4A0F-9D5F-DF2873FE277E}" type="presParOf" srcId="{9D1CEA25-A759-4716-B611-5C6F1E439BB1}" destId="{729A3E62-B2D1-4640-A25F-3A0C5581E0F7}" srcOrd="0" destOrd="0" presId="urn:microsoft.com/office/officeart/2008/layout/HorizontalMultiLevelHierarchy"/>
    <dgm:cxn modelId="{3A6F9572-672A-4B0B-9EF8-AF89223B7D1D}" type="presParOf" srcId="{9D1CEA25-A759-4716-B611-5C6F1E439BB1}" destId="{E11A7AA0-1F00-4080-9DAC-27D1395A0888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31E166-E5AC-40C9-AA18-BE508AE67983}">
      <dsp:nvSpPr>
        <dsp:cNvPr id="0" name=""/>
        <dsp:cNvSpPr/>
      </dsp:nvSpPr>
      <dsp:spPr>
        <a:xfrm>
          <a:off x="706210" y="0"/>
          <a:ext cx="8003721" cy="4192068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4C40F2-7858-474A-9028-F576CF510A21}">
      <dsp:nvSpPr>
        <dsp:cNvPr id="0" name=""/>
        <dsp:cNvSpPr/>
      </dsp:nvSpPr>
      <dsp:spPr>
        <a:xfrm>
          <a:off x="0" y="1257620"/>
          <a:ext cx="3030821" cy="1676827"/>
        </a:xfrm>
        <a:prstGeom prst="roundRect">
          <a:avLst/>
        </a:prstGeom>
        <a:solidFill>
          <a:srgbClr val="9D9D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b="1" kern="1200" dirty="0">
              <a:solidFill>
                <a:schemeClr val="tx1"/>
              </a:solidFill>
            </a:rPr>
            <a:t>Бессрочная аккредитация </a:t>
          </a:r>
        </a:p>
      </dsp:txBody>
      <dsp:txXfrm>
        <a:off x="81856" y="1339476"/>
        <a:ext cx="2867109" cy="1513115"/>
      </dsp:txXfrm>
    </dsp:sp>
    <dsp:sp modelId="{F3672AF9-D045-4A68-B6C0-A2F2B6369DBC}">
      <dsp:nvSpPr>
        <dsp:cNvPr id="0" name=""/>
        <dsp:cNvSpPr/>
      </dsp:nvSpPr>
      <dsp:spPr>
        <a:xfrm>
          <a:off x="3192660" y="1257620"/>
          <a:ext cx="3030821" cy="16768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b="1" kern="1200" dirty="0">
              <a:solidFill>
                <a:schemeClr val="tx1"/>
              </a:solidFill>
            </a:rPr>
            <a:t>Аккредитационный мониторинг </a:t>
          </a:r>
        </a:p>
      </dsp:txBody>
      <dsp:txXfrm>
        <a:off x="3274516" y="1339476"/>
        <a:ext cx="2867109" cy="1513115"/>
      </dsp:txXfrm>
    </dsp:sp>
    <dsp:sp modelId="{6E975C03-2FD2-453A-859F-8F33A5EB6D11}">
      <dsp:nvSpPr>
        <dsp:cNvPr id="0" name=""/>
        <dsp:cNvSpPr/>
      </dsp:nvSpPr>
      <dsp:spPr>
        <a:xfrm>
          <a:off x="6375206" y="1257620"/>
          <a:ext cx="3030821" cy="1676827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b="1" kern="1200" dirty="0">
              <a:solidFill>
                <a:schemeClr val="tx1"/>
              </a:solidFill>
            </a:rPr>
            <a:t>КНД</a:t>
          </a:r>
        </a:p>
      </dsp:txBody>
      <dsp:txXfrm>
        <a:off x="6457062" y="1339476"/>
        <a:ext cx="2867109" cy="151311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468B1D-36EB-4F4D-9154-BDE7D3B1AC2F}">
      <dsp:nvSpPr>
        <dsp:cNvPr id="0" name=""/>
        <dsp:cNvSpPr/>
      </dsp:nvSpPr>
      <dsp:spPr>
        <a:xfrm>
          <a:off x="998492" y="0"/>
          <a:ext cx="11316243" cy="696833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AACEC3-FD9D-4564-BCDA-180A80724442}">
      <dsp:nvSpPr>
        <dsp:cNvPr id="0" name=""/>
        <dsp:cNvSpPr/>
      </dsp:nvSpPr>
      <dsp:spPr>
        <a:xfrm>
          <a:off x="32996" y="2090750"/>
          <a:ext cx="2956472" cy="278733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FFFF00"/>
              </a:solidFill>
            </a:rPr>
            <a:t>1.09.2023 – 1.12.2023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бор данных </a:t>
          </a:r>
        </a:p>
      </dsp:txBody>
      <dsp:txXfrm>
        <a:off x="169062" y="2226816"/>
        <a:ext cx="2684340" cy="2515200"/>
      </dsp:txXfrm>
    </dsp:sp>
    <dsp:sp modelId="{9CB03CC3-69F5-4AB6-834E-DADB165B7402}">
      <dsp:nvSpPr>
        <dsp:cNvPr id="0" name=""/>
        <dsp:cNvSpPr/>
      </dsp:nvSpPr>
      <dsp:spPr>
        <a:xfrm>
          <a:off x="3453768" y="2090499"/>
          <a:ext cx="2956472" cy="278733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FFFF00"/>
              </a:solidFill>
            </a:rPr>
            <a:t>До 25.01.2024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Обработка данных </a:t>
          </a:r>
        </a:p>
      </dsp:txBody>
      <dsp:txXfrm>
        <a:off x="3589834" y="2226565"/>
        <a:ext cx="2684340" cy="2515200"/>
      </dsp:txXfrm>
    </dsp:sp>
    <dsp:sp modelId="{3204ADD2-DDC7-4FD1-A93E-7B7677A94C7A}">
      <dsp:nvSpPr>
        <dsp:cNvPr id="0" name=""/>
        <dsp:cNvSpPr/>
      </dsp:nvSpPr>
      <dsp:spPr>
        <a:xfrm>
          <a:off x="6902986" y="2090499"/>
          <a:ext cx="2956472" cy="278733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solidFill>
                <a:srgbClr val="FFFF00"/>
              </a:solidFill>
            </a:rPr>
            <a:t>До </a:t>
          </a:r>
          <a:r>
            <a:rPr lang="ru-RU" sz="2000" b="1" kern="1200" dirty="0">
              <a:solidFill>
                <a:srgbClr val="FFFF00"/>
              </a:solidFill>
            </a:rPr>
            <a:t>15.03.2024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Подготовка итогового отчета </a:t>
          </a:r>
        </a:p>
      </dsp:txBody>
      <dsp:txXfrm>
        <a:off x="7039052" y="2226565"/>
        <a:ext cx="2684340" cy="2515200"/>
      </dsp:txXfrm>
    </dsp:sp>
    <dsp:sp modelId="{7D70E723-F94B-469B-B68F-5246DC4F85C5}">
      <dsp:nvSpPr>
        <dsp:cNvPr id="0" name=""/>
        <dsp:cNvSpPr/>
      </dsp:nvSpPr>
      <dsp:spPr>
        <a:xfrm>
          <a:off x="10352204" y="2090499"/>
          <a:ext cx="2956472" cy="2787332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FFFF00"/>
              </a:solidFill>
            </a:rPr>
            <a:t>До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FFFF00"/>
              </a:solidFill>
            </a:rPr>
            <a:t>1.05. 2024</a:t>
          </a:r>
          <a:r>
            <a:rPr lang="ru-RU" sz="2400" kern="1200" dirty="0">
              <a:solidFill>
                <a:srgbClr val="FFFF00"/>
              </a:solidFill>
            </a:rPr>
            <a:t>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Подготовка рекомендаций </a:t>
          </a:r>
        </a:p>
      </dsp:txBody>
      <dsp:txXfrm>
        <a:off x="10488270" y="2226565"/>
        <a:ext cx="2684340" cy="2515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AE1771-DE25-4682-A595-F18EF553CB2E}">
      <dsp:nvSpPr>
        <dsp:cNvPr id="0" name=""/>
        <dsp:cNvSpPr/>
      </dsp:nvSpPr>
      <dsp:spPr>
        <a:xfrm>
          <a:off x="1305520" y="882"/>
          <a:ext cx="3232174" cy="193930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>
              <a:solidFill>
                <a:schemeClr val="tx1"/>
              </a:solidFill>
            </a:rPr>
            <a:t>Чат 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chemeClr val="tx1"/>
              </a:solidFill>
            </a:rPr>
            <a:t>«Школы_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 err="1">
              <a:solidFill>
                <a:schemeClr val="tx1"/>
              </a:solidFill>
            </a:rPr>
            <a:t>Аккредмониторинг</a:t>
          </a:r>
          <a:r>
            <a:rPr lang="ru-RU" sz="2300" b="1" kern="1200" dirty="0">
              <a:solidFill>
                <a:schemeClr val="tx1"/>
              </a:solidFill>
            </a:rPr>
            <a:t>»</a:t>
          </a:r>
        </a:p>
      </dsp:txBody>
      <dsp:txXfrm>
        <a:off x="1305520" y="882"/>
        <a:ext cx="3232174" cy="1939304"/>
      </dsp:txXfrm>
    </dsp:sp>
    <dsp:sp modelId="{5E7F6E29-3A93-46FB-8106-939B1459EDC6}">
      <dsp:nvSpPr>
        <dsp:cNvPr id="0" name=""/>
        <dsp:cNvSpPr/>
      </dsp:nvSpPr>
      <dsp:spPr>
        <a:xfrm>
          <a:off x="4860912" y="882"/>
          <a:ext cx="3232174" cy="193930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>
              <a:solidFill>
                <a:schemeClr val="tx1"/>
              </a:solidFill>
            </a:rPr>
            <a:t>Чат 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chemeClr val="tx1"/>
              </a:solidFill>
            </a:rPr>
            <a:t>«СПО_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 err="1">
              <a:solidFill>
                <a:schemeClr val="tx1"/>
              </a:solidFill>
            </a:rPr>
            <a:t>аккредмониторинг</a:t>
          </a:r>
          <a:r>
            <a:rPr lang="ru-RU" sz="2300" b="1" kern="1200" dirty="0">
              <a:solidFill>
                <a:schemeClr val="tx1"/>
              </a:solidFill>
            </a:rPr>
            <a:t>»</a:t>
          </a:r>
        </a:p>
      </dsp:txBody>
      <dsp:txXfrm>
        <a:off x="4860912" y="882"/>
        <a:ext cx="3232174" cy="1939304"/>
      </dsp:txXfrm>
    </dsp:sp>
    <dsp:sp modelId="{EA4D3CC3-DE21-4A76-BC0F-A8AA6E4C36F7}">
      <dsp:nvSpPr>
        <dsp:cNvPr id="0" name=""/>
        <dsp:cNvSpPr/>
      </dsp:nvSpPr>
      <dsp:spPr>
        <a:xfrm>
          <a:off x="8416304" y="882"/>
          <a:ext cx="3232174" cy="193930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>
              <a:solidFill>
                <a:schemeClr val="tx1"/>
              </a:solidFill>
            </a:rPr>
            <a:t>Чат 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chemeClr val="tx1"/>
              </a:solidFill>
            </a:rPr>
            <a:t>«Вузы_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 err="1">
              <a:solidFill>
                <a:schemeClr val="tx1"/>
              </a:solidFill>
            </a:rPr>
            <a:t>аккредмониторинг</a:t>
          </a:r>
          <a:r>
            <a:rPr lang="ru-RU" sz="2300" b="1" kern="1200" dirty="0">
              <a:solidFill>
                <a:schemeClr val="tx1"/>
              </a:solidFill>
            </a:rPr>
            <a:t>»</a:t>
          </a:r>
        </a:p>
      </dsp:txBody>
      <dsp:txXfrm>
        <a:off x="8416304" y="882"/>
        <a:ext cx="3232174" cy="1939304"/>
      </dsp:txXfrm>
    </dsp:sp>
    <dsp:sp modelId="{F75D5704-ABDC-457B-8F64-60609F73935F}">
      <dsp:nvSpPr>
        <dsp:cNvPr id="0" name=""/>
        <dsp:cNvSpPr/>
      </dsp:nvSpPr>
      <dsp:spPr>
        <a:xfrm>
          <a:off x="1305520" y="2263404"/>
          <a:ext cx="3232174" cy="193930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chemeClr val="tx1"/>
              </a:solidFill>
            </a:rPr>
            <a:t>Техподдержка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300" b="1" kern="1200" dirty="0">
            <a:solidFill>
              <a:schemeClr val="tx1"/>
            </a:solidFill>
          </a:endParaRPr>
        </a:p>
      </dsp:txBody>
      <dsp:txXfrm>
        <a:off x="1305520" y="2263404"/>
        <a:ext cx="3232174" cy="1939304"/>
      </dsp:txXfrm>
    </dsp:sp>
    <dsp:sp modelId="{98CD8E5A-FDC7-4FE9-991C-F604AB20AF32}">
      <dsp:nvSpPr>
        <dsp:cNvPr id="0" name=""/>
        <dsp:cNvSpPr/>
      </dsp:nvSpPr>
      <dsp:spPr>
        <a:xfrm>
          <a:off x="4860912" y="2263404"/>
          <a:ext cx="3232174" cy="193930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chemeClr val="tx1"/>
              </a:solidFill>
            </a:rPr>
            <a:t>Горячая линия Рособрнадзора  </a:t>
          </a:r>
        </a:p>
      </dsp:txBody>
      <dsp:txXfrm>
        <a:off x="4860912" y="2263404"/>
        <a:ext cx="3232174" cy="1939304"/>
      </dsp:txXfrm>
    </dsp:sp>
    <dsp:sp modelId="{674982CD-4522-4F95-A53A-A7AAFA2AF611}">
      <dsp:nvSpPr>
        <dsp:cNvPr id="0" name=""/>
        <dsp:cNvSpPr/>
      </dsp:nvSpPr>
      <dsp:spPr>
        <a:xfrm>
          <a:off x="8416304" y="2263404"/>
          <a:ext cx="3232174" cy="193930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chemeClr val="tx1"/>
              </a:solidFill>
            </a:rPr>
            <a:t>Раздел на сайте Рособрнадзора и </a:t>
          </a:r>
          <a:r>
            <a:rPr lang="ru-RU" sz="2300" b="1" kern="1200" dirty="0" err="1">
              <a:solidFill>
                <a:schemeClr val="tx1"/>
              </a:solidFill>
            </a:rPr>
            <a:t>Росаккредагенства</a:t>
          </a:r>
          <a:r>
            <a:rPr lang="ru-RU" sz="2300" b="1" kern="1200" dirty="0">
              <a:solidFill>
                <a:schemeClr val="tx1"/>
              </a:solidFill>
            </a:rPr>
            <a:t>   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chemeClr val="tx1"/>
              </a:solidFill>
            </a:rPr>
            <a:t>«Аккредитационный </a:t>
          </a:r>
          <a:r>
            <a:rPr lang="ru-RU" sz="2300" b="1" kern="1200" dirty="0" err="1">
              <a:solidFill>
                <a:schemeClr val="tx1"/>
              </a:solidFill>
            </a:rPr>
            <a:t>мониоринг</a:t>
          </a:r>
          <a:r>
            <a:rPr lang="ru-RU" sz="2300" b="1" kern="1200" dirty="0">
              <a:solidFill>
                <a:schemeClr val="tx1"/>
              </a:solidFill>
            </a:rPr>
            <a:t>»</a:t>
          </a:r>
        </a:p>
      </dsp:txBody>
      <dsp:txXfrm>
        <a:off x="8416304" y="2263404"/>
        <a:ext cx="3232174" cy="1939304"/>
      </dsp:txXfrm>
    </dsp:sp>
    <dsp:sp modelId="{48CF61CB-8AF5-459F-AA78-7F158FB80173}">
      <dsp:nvSpPr>
        <dsp:cNvPr id="0" name=""/>
        <dsp:cNvSpPr/>
      </dsp:nvSpPr>
      <dsp:spPr>
        <a:xfrm>
          <a:off x="4860912" y="4525926"/>
          <a:ext cx="3232174" cy="1939304"/>
        </a:xfrm>
        <a:prstGeom prst="rect">
          <a:avLst/>
        </a:prstGeom>
        <a:solidFill>
          <a:srgbClr val="9D9D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chemeClr val="tx1"/>
              </a:solidFill>
            </a:rPr>
            <a:t>Региональный координатор </a:t>
          </a:r>
        </a:p>
      </dsp:txBody>
      <dsp:txXfrm>
        <a:off x="4860912" y="4525926"/>
        <a:ext cx="3232174" cy="193930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B450DB-C4FE-48F9-A211-2E9C39C85B2D}">
      <dsp:nvSpPr>
        <dsp:cNvPr id="0" name=""/>
        <dsp:cNvSpPr/>
      </dsp:nvSpPr>
      <dsp:spPr>
        <a:xfrm>
          <a:off x="914076" y="0"/>
          <a:ext cx="10359537" cy="6081484"/>
        </a:xfrm>
        <a:prstGeom prst="right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D0C2FFF-2BF6-478E-B488-175FD1F0D2F6}">
      <dsp:nvSpPr>
        <dsp:cNvPr id="0" name=""/>
        <dsp:cNvSpPr/>
      </dsp:nvSpPr>
      <dsp:spPr>
        <a:xfrm>
          <a:off x="0" y="1824445"/>
          <a:ext cx="3656307" cy="2432594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/>
            <a:t>Запрос от Рособрнадзора в </a:t>
          </a:r>
          <a:r>
            <a:rPr lang="ru-RU" sz="2400" b="1" kern="1200" dirty="0" err="1"/>
            <a:t>ФОИВы</a:t>
          </a:r>
          <a:endParaRPr lang="ru-RU" sz="2400" b="1" kern="1200" dirty="0"/>
        </a:p>
      </dsp:txBody>
      <dsp:txXfrm>
        <a:off x="118749" y="1943194"/>
        <a:ext cx="3418809" cy="2195096"/>
      </dsp:txXfrm>
    </dsp:sp>
    <dsp:sp modelId="{6E36094B-D353-4F88-832A-C8622E170C32}">
      <dsp:nvSpPr>
        <dsp:cNvPr id="0" name=""/>
        <dsp:cNvSpPr/>
      </dsp:nvSpPr>
      <dsp:spPr>
        <a:xfrm>
          <a:off x="4265691" y="1824445"/>
          <a:ext cx="3656307" cy="2432594"/>
        </a:xfrm>
        <a:prstGeom prst="roundRect">
          <a:avLst/>
        </a:prstGeom>
        <a:gradFill rotWithShape="0">
          <a:gsLst>
            <a:gs pos="0">
              <a:schemeClr val="accent5">
                <a:hueOff val="-3379271"/>
                <a:satOff val="-8710"/>
                <a:lumOff val="-5883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5">
                <a:hueOff val="-3379271"/>
                <a:satOff val="-8710"/>
                <a:lumOff val="-5883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5">
                <a:hueOff val="-3379271"/>
                <a:satOff val="-8710"/>
                <a:lumOff val="-5883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/>
            <a:t>Отбор ФОИВ программ от каждого подведомственного вуза </a:t>
          </a:r>
        </a:p>
      </dsp:txBody>
      <dsp:txXfrm>
        <a:off x="4384440" y="1943194"/>
        <a:ext cx="3418809" cy="2195096"/>
      </dsp:txXfrm>
    </dsp:sp>
    <dsp:sp modelId="{16B2A145-8ABE-4C1B-A54B-FB553588ABB2}">
      <dsp:nvSpPr>
        <dsp:cNvPr id="0" name=""/>
        <dsp:cNvSpPr/>
      </dsp:nvSpPr>
      <dsp:spPr>
        <a:xfrm>
          <a:off x="8531383" y="1824445"/>
          <a:ext cx="3656307" cy="2432594"/>
        </a:xfrm>
        <a:prstGeom prst="roundRect">
          <a:avLst/>
        </a:prstGeom>
        <a:gradFill rotWithShape="0">
          <a:gsLst>
            <a:gs pos="0">
              <a:schemeClr val="accent5">
                <a:hueOff val="-6758543"/>
                <a:satOff val="-17419"/>
                <a:lumOff val="-11765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5">
                <a:hueOff val="-6758543"/>
                <a:satOff val="-17419"/>
                <a:lumOff val="-11765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5">
                <a:hueOff val="-6758543"/>
                <a:satOff val="-17419"/>
                <a:lumOff val="-11765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/>
            <a:t>Корректировка перечня  программ вузами в соответствии с критериями </a:t>
          </a:r>
        </a:p>
      </dsp:txBody>
      <dsp:txXfrm>
        <a:off x="8650132" y="1943194"/>
        <a:ext cx="3418809" cy="219509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794EAF-3DDF-4536-9C84-AE6B7B237AE1}">
      <dsp:nvSpPr>
        <dsp:cNvPr id="0" name=""/>
        <dsp:cNvSpPr/>
      </dsp:nvSpPr>
      <dsp:spPr>
        <a:xfrm>
          <a:off x="5662" y="1201387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0" tIns="69850" rIns="69850" bIns="69850" numCol="1" spcCol="1270" anchor="ctr" anchorCtr="0">
          <a:noAutofit/>
        </a:bodyPr>
        <a:lstStyle/>
        <a:p>
          <a:pPr marL="0" lvl="0" indent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5500" b="1" kern="1200" dirty="0">
              <a:solidFill>
                <a:schemeClr val="tx1"/>
              </a:solidFill>
            </a:rPr>
            <a:t>Вход </a:t>
          </a:r>
        </a:p>
      </dsp:txBody>
      <dsp:txXfrm>
        <a:off x="32809" y="1228534"/>
        <a:ext cx="3653239" cy="872589"/>
      </dsp:txXfrm>
    </dsp:sp>
    <dsp:sp modelId="{62433DFA-631D-46FA-BC12-CF86931C4687}">
      <dsp:nvSpPr>
        <dsp:cNvPr id="0" name=""/>
        <dsp:cNvSpPr/>
      </dsp:nvSpPr>
      <dsp:spPr>
        <a:xfrm rot="5400000">
          <a:off x="1778326" y="2209373"/>
          <a:ext cx="162204" cy="162204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EE642A-F45C-4131-875B-D7223C79C28C}">
      <dsp:nvSpPr>
        <dsp:cNvPr id="0" name=""/>
        <dsp:cNvSpPr/>
      </dsp:nvSpPr>
      <dsp:spPr>
        <a:xfrm>
          <a:off x="5662" y="2452680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АП1 -ЕГЭ</a:t>
          </a:r>
        </a:p>
      </dsp:txBody>
      <dsp:txXfrm>
        <a:off x="32809" y="2479827"/>
        <a:ext cx="3653239" cy="872589"/>
      </dsp:txXfrm>
    </dsp:sp>
    <dsp:sp modelId="{A1C1E71B-C1A8-41E0-871F-0BBDD3C7DE2A}">
      <dsp:nvSpPr>
        <dsp:cNvPr id="0" name=""/>
        <dsp:cNvSpPr/>
      </dsp:nvSpPr>
      <dsp:spPr>
        <a:xfrm rot="5400000">
          <a:off x="1778326" y="3460665"/>
          <a:ext cx="162204" cy="162204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-181920"/>
            <a:satOff val="-10491"/>
            <a:lumOff val="107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2FEAB6-83B4-4A2B-AA9E-F4245719E1FA}">
      <dsp:nvSpPr>
        <dsp:cNvPr id="0" name=""/>
        <dsp:cNvSpPr/>
      </dsp:nvSpPr>
      <dsp:spPr>
        <a:xfrm>
          <a:off x="5662" y="3703972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-106153"/>
            <a:satOff val="-9418"/>
            <a:lumOff val="-96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106153"/>
              <a:satOff val="-9418"/>
              <a:lumOff val="-9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АП1.1 - ДВИ</a:t>
          </a:r>
        </a:p>
      </dsp:txBody>
      <dsp:txXfrm>
        <a:off x="32809" y="3731119"/>
        <a:ext cx="3653239" cy="872589"/>
      </dsp:txXfrm>
    </dsp:sp>
    <dsp:sp modelId="{0832EC4A-D30A-4700-BE4D-00D4E333979B}">
      <dsp:nvSpPr>
        <dsp:cNvPr id="0" name=""/>
        <dsp:cNvSpPr/>
      </dsp:nvSpPr>
      <dsp:spPr>
        <a:xfrm>
          <a:off x="4232250" y="1201387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0" tIns="69850" rIns="69850" bIns="69850" numCol="1" spcCol="1270" anchor="ctr" anchorCtr="0">
          <a:noAutofit/>
        </a:bodyPr>
        <a:lstStyle/>
        <a:p>
          <a:pPr marL="0" lvl="0" indent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5500" b="1" kern="1200" dirty="0">
              <a:solidFill>
                <a:schemeClr val="tx1"/>
              </a:solidFill>
            </a:rPr>
            <a:t>Условия </a:t>
          </a:r>
        </a:p>
      </dsp:txBody>
      <dsp:txXfrm>
        <a:off x="4259397" y="1228534"/>
        <a:ext cx="3653239" cy="872589"/>
      </dsp:txXfrm>
    </dsp:sp>
    <dsp:sp modelId="{C9A9EE7F-5792-4C4E-A0D4-E0CD0AB1CE8A}">
      <dsp:nvSpPr>
        <dsp:cNvPr id="0" name=""/>
        <dsp:cNvSpPr/>
      </dsp:nvSpPr>
      <dsp:spPr>
        <a:xfrm rot="5400000">
          <a:off x="6004915" y="2209373"/>
          <a:ext cx="162204" cy="162204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-363841"/>
            <a:satOff val="-20982"/>
            <a:lumOff val="215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7DEA97-9E66-4CEF-882B-2F108B75594F}">
      <dsp:nvSpPr>
        <dsp:cNvPr id="0" name=""/>
        <dsp:cNvSpPr/>
      </dsp:nvSpPr>
      <dsp:spPr>
        <a:xfrm>
          <a:off x="4232250" y="2452680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-212306"/>
            <a:satOff val="-18836"/>
            <a:lumOff val="-192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212306"/>
              <a:satOff val="-18836"/>
              <a:lumOff val="-1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АП2 - ЭИОС</a:t>
          </a:r>
        </a:p>
      </dsp:txBody>
      <dsp:txXfrm>
        <a:off x="4259397" y="2479827"/>
        <a:ext cx="3653239" cy="872589"/>
      </dsp:txXfrm>
    </dsp:sp>
    <dsp:sp modelId="{E1E62B12-4756-448E-B09A-F18787E64D95}">
      <dsp:nvSpPr>
        <dsp:cNvPr id="0" name=""/>
        <dsp:cNvSpPr/>
      </dsp:nvSpPr>
      <dsp:spPr>
        <a:xfrm rot="5400000">
          <a:off x="6000952" y="3464628"/>
          <a:ext cx="170129" cy="162204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-545761"/>
            <a:satOff val="-31473"/>
            <a:lumOff val="3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2521A3-179D-4C87-8E7F-8F17CB07DE8C}">
      <dsp:nvSpPr>
        <dsp:cNvPr id="0" name=""/>
        <dsp:cNvSpPr/>
      </dsp:nvSpPr>
      <dsp:spPr>
        <a:xfrm>
          <a:off x="4232250" y="3711898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-318460"/>
            <a:satOff val="-28255"/>
            <a:lumOff val="-288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318460"/>
              <a:satOff val="-28255"/>
              <a:lumOff val="-28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АП5 – остепенённость </a:t>
          </a:r>
        </a:p>
      </dsp:txBody>
      <dsp:txXfrm>
        <a:off x="4259397" y="3739045"/>
        <a:ext cx="3653239" cy="872589"/>
      </dsp:txXfrm>
    </dsp:sp>
    <dsp:sp modelId="{CCEB2555-0104-4052-9E5A-6E1AA1D1EAB4}">
      <dsp:nvSpPr>
        <dsp:cNvPr id="0" name=""/>
        <dsp:cNvSpPr/>
      </dsp:nvSpPr>
      <dsp:spPr>
        <a:xfrm rot="5400000">
          <a:off x="6008877" y="4715921"/>
          <a:ext cx="154279" cy="162204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8242F6-F7FC-41FE-B2F3-48FE134F8322}">
      <dsp:nvSpPr>
        <dsp:cNvPr id="0" name=""/>
        <dsp:cNvSpPr/>
      </dsp:nvSpPr>
      <dsp:spPr>
        <a:xfrm>
          <a:off x="4232250" y="4955265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-424613"/>
            <a:satOff val="-37673"/>
            <a:lumOff val="-385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424613"/>
              <a:satOff val="-37673"/>
              <a:lumOff val="-38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АП6 – представители работодателей </a:t>
          </a:r>
        </a:p>
      </dsp:txBody>
      <dsp:txXfrm>
        <a:off x="4259397" y="4982412"/>
        <a:ext cx="3653239" cy="872589"/>
      </dsp:txXfrm>
    </dsp:sp>
    <dsp:sp modelId="{DF70430B-EA16-4C2F-B55A-E60C2B1FBC84}">
      <dsp:nvSpPr>
        <dsp:cNvPr id="0" name=""/>
        <dsp:cNvSpPr/>
      </dsp:nvSpPr>
      <dsp:spPr>
        <a:xfrm rot="5400000">
          <a:off x="6004915" y="5963251"/>
          <a:ext cx="162204" cy="162204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-909602"/>
            <a:satOff val="-52455"/>
            <a:lumOff val="539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732BD9-5E5C-4BBF-AFA3-DEFE7705BB1C}">
      <dsp:nvSpPr>
        <dsp:cNvPr id="0" name=""/>
        <dsp:cNvSpPr/>
      </dsp:nvSpPr>
      <dsp:spPr>
        <a:xfrm>
          <a:off x="4232250" y="6206558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-530766"/>
            <a:satOff val="-47091"/>
            <a:lumOff val="-481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530766"/>
              <a:satOff val="-47091"/>
              <a:lumOff val="-48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АП7 - ВСОКО</a:t>
          </a:r>
        </a:p>
      </dsp:txBody>
      <dsp:txXfrm>
        <a:off x="4259397" y="6233705"/>
        <a:ext cx="3653239" cy="872589"/>
      </dsp:txXfrm>
    </dsp:sp>
    <dsp:sp modelId="{DAC741A5-1767-4019-894E-E3C8D7D17E4A}">
      <dsp:nvSpPr>
        <dsp:cNvPr id="0" name=""/>
        <dsp:cNvSpPr/>
      </dsp:nvSpPr>
      <dsp:spPr>
        <a:xfrm>
          <a:off x="8458839" y="1201387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0" tIns="69850" rIns="69850" bIns="69850" numCol="1" spcCol="1270" anchor="ctr" anchorCtr="0">
          <a:noAutofit/>
        </a:bodyPr>
        <a:lstStyle/>
        <a:p>
          <a:pPr marL="0" lvl="0" indent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5500" b="1" kern="1200" dirty="0">
              <a:solidFill>
                <a:schemeClr val="tx1"/>
              </a:solidFill>
            </a:rPr>
            <a:t>Выход</a:t>
          </a:r>
          <a:r>
            <a:rPr lang="ru-RU" sz="5500" kern="1200" dirty="0"/>
            <a:t> </a:t>
          </a:r>
        </a:p>
      </dsp:txBody>
      <dsp:txXfrm>
        <a:off x="8485986" y="1228534"/>
        <a:ext cx="3653239" cy="872589"/>
      </dsp:txXfrm>
    </dsp:sp>
    <dsp:sp modelId="{4C520314-A82C-4895-AB2E-F3F8AE1A4089}">
      <dsp:nvSpPr>
        <dsp:cNvPr id="0" name=""/>
        <dsp:cNvSpPr/>
      </dsp:nvSpPr>
      <dsp:spPr>
        <a:xfrm rot="5400000">
          <a:off x="10231503" y="2209373"/>
          <a:ext cx="162204" cy="162204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-1091522"/>
            <a:satOff val="-62946"/>
            <a:lumOff val="647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1C0B07-CA04-4E88-B2FF-88CD6553FFE7}">
      <dsp:nvSpPr>
        <dsp:cNvPr id="0" name=""/>
        <dsp:cNvSpPr/>
      </dsp:nvSpPr>
      <dsp:spPr>
        <a:xfrm>
          <a:off x="8458839" y="2452680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-636919"/>
            <a:satOff val="-56510"/>
            <a:lumOff val="-577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636919"/>
              <a:satOff val="-56510"/>
              <a:lumOff val="-57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АП3 – сохранность контингента  </a:t>
          </a:r>
        </a:p>
      </dsp:txBody>
      <dsp:txXfrm>
        <a:off x="8485986" y="2479827"/>
        <a:ext cx="3653239" cy="872589"/>
      </dsp:txXfrm>
    </dsp:sp>
    <dsp:sp modelId="{7082EBFB-FD7D-4253-82C2-E3D40D3CD3D4}">
      <dsp:nvSpPr>
        <dsp:cNvPr id="0" name=""/>
        <dsp:cNvSpPr/>
      </dsp:nvSpPr>
      <dsp:spPr>
        <a:xfrm rot="5400000">
          <a:off x="10231503" y="3460665"/>
          <a:ext cx="162204" cy="162204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-1273443"/>
            <a:satOff val="-73437"/>
            <a:lumOff val="754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BAB806-D7C3-4B11-B3FB-E44658DC5B1C}">
      <dsp:nvSpPr>
        <dsp:cNvPr id="0" name=""/>
        <dsp:cNvSpPr/>
      </dsp:nvSpPr>
      <dsp:spPr>
        <a:xfrm>
          <a:off x="8458839" y="3703972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-743073"/>
            <a:satOff val="-65928"/>
            <a:lumOff val="-673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743073"/>
              <a:satOff val="-65928"/>
              <a:lumOff val="-67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АП4 – сохранность контингента  целевиков </a:t>
          </a:r>
        </a:p>
      </dsp:txBody>
      <dsp:txXfrm>
        <a:off x="8485986" y="3731119"/>
        <a:ext cx="3653239" cy="872589"/>
      </dsp:txXfrm>
    </dsp:sp>
    <dsp:sp modelId="{7CA49CD7-5FA9-4135-A28D-07A82B67029F}">
      <dsp:nvSpPr>
        <dsp:cNvPr id="0" name=""/>
        <dsp:cNvSpPr/>
      </dsp:nvSpPr>
      <dsp:spPr>
        <a:xfrm rot="5400000">
          <a:off x="10231503" y="4711958"/>
          <a:ext cx="162204" cy="162204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A0EC1F-6D3B-4DCA-BC63-31834ABC14D5}">
      <dsp:nvSpPr>
        <dsp:cNvPr id="0" name=""/>
        <dsp:cNvSpPr/>
      </dsp:nvSpPr>
      <dsp:spPr>
        <a:xfrm>
          <a:off x="8458839" y="4955265"/>
          <a:ext cx="3707533" cy="92688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-849226"/>
            <a:satOff val="-75346"/>
            <a:lumOff val="-769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849226"/>
              <a:satOff val="-75346"/>
              <a:lumOff val="-76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АП8 – трудоустройство </a:t>
          </a:r>
        </a:p>
      </dsp:txBody>
      <dsp:txXfrm>
        <a:off x="8485986" y="4982412"/>
        <a:ext cx="3653239" cy="87258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C5E8B7-E3FE-4C1F-AF56-64CB1C40BD06}">
      <dsp:nvSpPr>
        <dsp:cNvPr id="0" name=""/>
        <dsp:cNvSpPr/>
      </dsp:nvSpPr>
      <dsp:spPr>
        <a:xfrm>
          <a:off x="1968860" y="495"/>
          <a:ext cx="4241236" cy="2544741"/>
        </a:xfrm>
        <a:prstGeom prst="rect">
          <a:avLst/>
        </a:prstGeom>
        <a:solidFill>
          <a:srgbClr val="565087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b="1" kern="1200" dirty="0"/>
            <a:t>Бакалавриат 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b="1" kern="1200" dirty="0"/>
            <a:t>Специалитет </a:t>
          </a:r>
        </a:p>
      </dsp:txBody>
      <dsp:txXfrm>
        <a:off x="1968860" y="495"/>
        <a:ext cx="4241236" cy="2544741"/>
      </dsp:txXfrm>
    </dsp:sp>
    <dsp:sp modelId="{9900DC10-1AF0-4040-8ADC-DD5D62886761}">
      <dsp:nvSpPr>
        <dsp:cNvPr id="0" name=""/>
        <dsp:cNvSpPr/>
      </dsp:nvSpPr>
      <dsp:spPr>
        <a:xfrm>
          <a:off x="1968860" y="2969360"/>
          <a:ext cx="4241236" cy="2544741"/>
        </a:xfrm>
        <a:prstGeom prst="rect">
          <a:avLst/>
        </a:prstGeom>
        <a:solidFill>
          <a:srgbClr val="ABABDD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solidFill>
                <a:schemeClr val="tx1"/>
              </a:solidFill>
            </a:rPr>
            <a:t>Магистратура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solidFill>
                <a:schemeClr val="tx1"/>
              </a:solidFill>
            </a:rPr>
            <a:t>Ординатура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solidFill>
                <a:schemeClr val="tx1"/>
              </a:solidFill>
            </a:rPr>
            <a:t>Ассистентура-стажировка </a:t>
          </a:r>
        </a:p>
      </dsp:txBody>
      <dsp:txXfrm>
        <a:off x="1968860" y="2969360"/>
        <a:ext cx="4241236" cy="254474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30C05F-A81F-47DB-AE87-5C4A8ADE237E}">
      <dsp:nvSpPr>
        <dsp:cNvPr id="0" name=""/>
        <dsp:cNvSpPr/>
      </dsp:nvSpPr>
      <dsp:spPr>
        <a:xfrm>
          <a:off x="0" y="927187"/>
          <a:ext cx="11908972" cy="80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CBE31A-2F7A-42A9-B901-3DBB0F0F0C85}">
      <dsp:nvSpPr>
        <dsp:cNvPr id="0" name=""/>
        <dsp:cNvSpPr/>
      </dsp:nvSpPr>
      <dsp:spPr>
        <a:xfrm>
          <a:off x="595448" y="59242"/>
          <a:ext cx="8336280" cy="1340264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5092" tIns="0" rIns="315092" bIns="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600" kern="1200" dirty="0">
              <a:solidFill>
                <a:schemeClr val="tx1"/>
              </a:solidFill>
            </a:rPr>
            <a:t>ИС ГА </a:t>
          </a:r>
        </a:p>
      </dsp:txBody>
      <dsp:txXfrm>
        <a:off x="660874" y="124668"/>
        <a:ext cx="8205428" cy="1209412"/>
      </dsp:txXfrm>
    </dsp:sp>
    <dsp:sp modelId="{27D06BBB-1552-493F-83D0-0384C2519194}">
      <dsp:nvSpPr>
        <dsp:cNvPr id="0" name=""/>
        <dsp:cNvSpPr/>
      </dsp:nvSpPr>
      <dsp:spPr>
        <a:xfrm>
          <a:off x="0" y="2688841"/>
          <a:ext cx="11908972" cy="80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485121"/>
              <a:satOff val="-27976"/>
              <a:lumOff val="287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28FCD1-9BDF-41A2-A67C-1AEC242A6A24}">
      <dsp:nvSpPr>
        <dsp:cNvPr id="0" name=""/>
        <dsp:cNvSpPr/>
      </dsp:nvSpPr>
      <dsp:spPr>
        <a:xfrm>
          <a:off x="595448" y="1906387"/>
          <a:ext cx="8336280" cy="1254774"/>
        </a:xfrm>
        <a:prstGeom prst="roundRect">
          <a:avLst/>
        </a:prstGeom>
        <a:solidFill>
          <a:schemeClr val="accent2">
            <a:hueOff val="-485121"/>
            <a:satOff val="-27976"/>
            <a:lumOff val="28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5092" tIns="0" rIns="315092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b="1" kern="1200" dirty="0">
              <a:solidFill>
                <a:schemeClr val="tx1"/>
              </a:solidFill>
            </a:rPr>
            <a:t>Модуль «Аккредитационный мониторинг» </a:t>
          </a:r>
        </a:p>
      </dsp:txBody>
      <dsp:txXfrm>
        <a:off x="656701" y="1967640"/>
        <a:ext cx="8213774" cy="1132268"/>
      </dsp:txXfrm>
    </dsp:sp>
    <dsp:sp modelId="{085C2191-DD1C-4009-9AD2-C89733696CE7}">
      <dsp:nvSpPr>
        <dsp:cNvPr id="0" name=""/>
        <dsp:cNvSpPr/>
      </dsp:nvSpPr>
      <dsp:spPr>
        <a:xfrm>
          <a:off x="0" y="4497454"/>
          <a:ext cx="11908972" cy="80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970242"/>
              <a:satOff val="-55952"/>
              <a:lumOff val="575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4AEF81-E8F1-4F3A-A242-5E098225B53F}">
      <dsp:nvSpPr>
        <dsp:cNvPr id="0" name=""/>
        <dsp:cNvSpPr/>
      </dsp:nvSpPr>
      <dsp:spPr>
        <a:xfrm>
          <a:off x="595448" y="3668041"/>
          <a:ext cx="8336280" cy="1301732"/>
        </a:xfrm>
        <a:prstGeom prst="roundRect">
          <a:avLst/>
        </a:prstGeom>
        <a:solidFill>
          <a:schemeClr val="accent2">
            <a:hueOff val="-970242"/>
            <a:satOff val="-55952"/>
            <a:lumOff val="5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5092" tIns="0" rIns="315092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b="1" kern="1200" dirty="0">
              <a:solidFill>
                <a:schemeClr val="tx1"/>
              </a:solidFill>
            </a:rPr>
            <a:t>Ввод первичных данных осуществляется вузом </a:t>
          </a:r>
        </a:p>
      </dsp:txBody>
      <dsp:txXfrm>
        <a:off x="658993" y="3731586"/>
        <a:ext cx="8209190" cy="1174642"/>
      </dsp:txXfrm>
    </dsp:sp>
    <dsp:sp modelId="{66481FD3-62A5-4EDE-9877-BB667D1060AD}">
      <dsp:nvSpPr>
        <dsp:cNvPr id="0" name=""/>
        <dsp:cNvSpPr/>
      </dsp:nvSpPr>
      <dsp:spPr>
        <a:xfrm>
          <a:off x="0" y="6297140"/>
          <a:ext cx="11908972" cy="80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DDEECE-D6A1-40B9-BEC7-D271D9DFCA5E}">
      <dsp:nvSpPr>
        <dsp:cNvPr id="0" name=""/>
        <dsp:cNvSpPr/>
      </dsp:nvSpPr>
      <dsp:spPr>
        <a:xfrm>
          <a:off x="595448" y="5476654"/>
          <a:ext cx="8336280" cy="1292805"/>
        </a:xfrm>
        <a:prstGeom prst="round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5092" tIns="0" rIns="315092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b="1" kern="1200" dirty="0">
              <a:solidFill>
                <a:schemeClr val="tx1"/>
              </a:solidFill>
            </a:rPr>
            <a:t>Выгрузка отчета по ОПОП</a:t>
          </a:r>
        </a:p>
      </dsp:txBody>
      <dsp:txXfrm>
        <a:off x="658558" y="5539764"/>
        <a:ext cx="8210060" cy="116658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2BC559-4390-4B5C-853B-DD8F46E180FF}">
      <dsp:nvSpPr>
        <dsp:cNvPr id="0" name=""/>
        <dsp:cNvSpPr/>
      </dsp:nvSpPr>
      <dsp:spPr>
        <a:xfrm>
          <a:off x="3516" y="2028971"/>
          <a:ext cx="3527829" cy="1411131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0678" tIns="45339" rIns="22670" bIns="45339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>
              <a:solidFill>
                <a:schemeClr val="tx1"/>
              </a:solidFill>
            </a:rPr>
            <a:t>Трудоустроенный </a:t>
          </a:r>
        </a:p>
      </dsp:txBody>
      <dsp:txXfrm>
        <a:off x="3516" y="2028971"/>
        <a:ext cx="3175046" cy="1411131"/>
      </dsp:txXfrm>
    </dsp:sp>
    <dsp:sp modelId="{AE3962E1-8607-49A0-BAFE-3325C6C94461}">
      <dsp:nvSpPr>
        <dsp:cNvPr id="0" name=""/>
        <dsp:cNvSpPr/>
      </dsp:nvSpPr>
      <dsp:spPr>
        <a:xfrm>
          <a:off x="2825779" y="2028971"/>
          <a:ext cx="3527829" cy="1411131"/>
        </a:xfrm>
        <a:prstGeom prst="chevron">
          <a:avLst/>
        </a:prstGeom>
        <a:solidFill>
          <a:schemeClr val="accent5">
            <a:hueOff val="-2252848"/>
            <a:satOff val="-5806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45339" rIns="22670" bIns="45339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>
              <a:solidFill>
                <a:schemeClr val="tx1"/>
              </a:solidFill>
            </a:rPr>
            <a:t>Индивидуальный предприниматель </a:t>
          </a:r>
        </a:p>
      </dsp:txBody>
      <dsp:txXfrm>
        <a:off x="3531345" y="2028971"/>
        <a:ext cx="2116698" cy="1411131"/>
      </dsp:txXfrm>
    </dsp:sp>
    <dsp:sp modelId="{721440E5-A79D-48AF-B4A8-D949DA611B75}">
      <dsp:nvSpPr>
        <dsp:cNvPr id="0" name=""/>
        <dsp:cNvSpPr/>
      </dsp:nvSpPr>
      <dsp:spPr>
        <a:xfrm>
          <a:off x="5648043" y="2028971"/>
          <a:ext cx="3527829" cy="1411131"/>
        </a:xfrm>
        <a:prstGeom prst="chevron">
          <a:avLst/>
        </a:prstGeom>
        <a:solidFill>
          <a:schemeClr val="accent5">
            <a:hueOff val="-4505695"/>
            <a:satOff val="-11613"/>
            <a:lumOff val="-78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45339" rIns="22670" bIns="45339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>
              <a:solidFill>
                <a:schemeClr val="tx1"/>
              </a:solidFill>
            </a:rPr>
            <a:t>Самозанятый </a:t>
          </a:r>
        </a:p>
      </dsp:txBody>
      <dsp:txXfrm>
        <a:off x="6353609" y="2028971"/>
        <a:ext cx="2116698" cy="1411131"/>
      </dsp:txXfrm>
    </dsp:sp>
    <dsp:sp modelId="{DC6F7B37-34F2-4277-946D-4B932E18A670}">
      <dsp:nvSpPr>
        <dsp:cNvPr id="0" name=""/>
        <dsp:cNvSpPr/>
      </dsp:nvSpPr>
      <dsp:spPr>
        <a:xfrm>
          <a:off x="8470306" y="2028971"/>
          <a:ext cx="3527829" cy="1411131"/>
        </a:xfrm>
        <a:prstGeom prst="chevron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45339" rIns="22670" bIns="45339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>
              <a:solidFill>
                <a:schemeClr val="tx1"/>
              </a:solidFill>
            </a:rPr>
            <a:t>Продолживший обучение </a:t>
          </a:r>
        </a:p>
      </dsp:txBody>
      <dsp:txXfrm>
        <a:off x="9175872" y="2028971"/>
        <a:ext cx="2116698" cy="141113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993446-8185-470B-A5D0-9BA4F0A68AC9}">
      <dsp:nvSpPr>
        <dsp:cNvPr id="0" name=""/>
        <dsp:cNvSpPr/>
      </dsp:nvSpPr>
      <dsp:spPr>
        <a:xfrm>
          <a:off x="1043010" y="2675700"/>
          <a:ext cx="683777" cy="2763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1888" y="0"/>
              </a:lnTo>
              <a:lnTo>
                <a:pt x="341888" y="2763306"/>
              </a:lnTo>
              <a:lnTo>
                <a:pt x="683777" y="2763306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1313732" y="3986187"/>
        <a:ext cx="142332" cy="142332"/>
      </dsp:txXfrm>
    </dsp:sp>
    <dsp:sp modelId="{FB3D19E2-105B-424B-B0E5-533FBBEB9B8D}">
      <dsp:nvSpPr>
        <dsp:cNvPr id="0" name=""/>
        <dsp:cNvSpPr/>
      </dsp:nvSpPr>
      <dsp:spPr>
        <a:xfrm>
          <a:off x="1043010" y="2675700"/>
          <a:ext cx="683777" cy="14603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1888" y="0"/>
              </a:lnTo>
              <a:lnTo>
                <a:pt x="341888" y="1460377"/>
              </a:lnTo>
              <a:lnTo>
                <a:pt x="683777" y="146037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600" kern="1200"/>
        </a:p>
      </dsp:txBody>
      <dsp:txXfrm>
        <a:off x="1344585" y="3365576"/>
        <a:ext cx="80626" cy="80626"/>
      </dsp:txXfrm>
    </dsp:sp>
    <dsp:sp modelId="{61837361-AAA6-47C0-B8E2-B3317CA65310}">
      <dsp:nvSpPr>
        <dsp:cNvPr id="0" name=""/>
        <dsp:cNvSpPr/>
      </dsp:nvSpPr>
      <dsp:spPr>
        <a:xfrm>
          <a:off x="1043010" y="2675700"/>
          <a:ext cx="683777" cy="1574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1888" y="0"/>
              </a:lnTo>
              <a:lnTo>
                <a:pt x="341888" y="157448"/>
              </a:lnTo>
              <a:lnTo>
                <a:pt x="683777" y="1574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00" kern="1200"/>
        </a:p>
      </dsp:txBody>
      <dsp:txXfrm>
        <a:off x="1367357" y="2736883"/>
        <a:ext cx="35083" cy="35083"/>
      </dsp:txXfrm>
    </dsp:sp>
    <dsp:sp modelId="{EF2B4DDA-936C-4AA5-B864-D171759EC737}">
      <dsp:nvSpPr>
        <dsp:cNvPr id="0" name=""/>
        <dsp:cNvSpPr/>
      </dsp:nvSpPr>
      <dsp:spPr>
        <a:xfrm>
          <a:off x="1043010" y="1541800"/>
          <a:ext cx="672187" cy="1133899"/>
        </a:xfrm>
        <a:custGeom>
          <a:avLst/>
          <a:gdLst/>
          <a:ahLst/>
          <a:cxnLst/>
          <a:rect l="0" t="0" r="0" b="0"/>
          <a:pathLst>
            <a:path>
              <a:moveTo>
                <a:pt x="0" y="1133899"/>
              </a:moveTo>
              <a:lnTo>
                <a:pt x="336093" y="1133899"/>
              </a:lnTo>
              <a:lnTo>
                <a:pt x="336093" y="0"/>
              </a:lnTo>
              <a:lnTo>
                <a:pt x="672187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00" kern="1200"/>
        </a:p>
      </dsp:txBody>
      <dsp:txXfrm>
        <a:off x="1346150" y="2075796"/>
        <a:ext cx="65908" cy="65908"/>
      </dsp:txXfrm>
    </dsp:sp>
    <dsp:sp modelId="{720B800B-3A8E-4223-9CF2-A5933F2163FD}">
      <dsp:nvSpPr>
        <dsp:cNvPr id="0" name=""/>
        <dsp:cNvSpPr/>
      </dsp:nvSpPr>
      <dsp:spPr>
        <a:xfrm>
          <a:off x="-427379" y="2154529"/>
          <a:ext cx="1898436" cy="104234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solidFill>
                <a:schemeClr val="tx1"/>
              </a:solidFill>
            </a:rPr>
            <a:t>По каждому показателю </a:t>
          </a:r>
        </a:p>
      </dsp:txBody>
      <dsp:txXfrm>
        <a:off x="-427379" y="2154529"/>
        <a:ext cx="1898436" cy="1042343"/>
      </dsp:txXfrm>
    </dsp:sp>
    <dsp:sp modelId="{58103ACE-19CF-4966-BBC1-BD9CDFBAF1B7}">
      <dsp:nvSpPr>
        <dsp:cNvPr id="0" name=""/>
        <dsp:cNvSpPr/>
      </dsp:nvSpPr>
      <dsp:spPr>
        <a:xfrm>
          <a:off x="1715197" y="1020629"/>
          <a:ext cx="3418885" cy="104234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solidFill>
                <a:schemeClr val="tx1"/>
              </a:solidFill>
            </a:rPr>
            <a:t>Образовательные организации  </a:t>
          </a:r>
        </a:p>
      </dsp:txBody>
      <dsp:txXfrm>
        <a:off x="1715197" y="1020629"/>
        <a:ext cx="3418885" cy="1042343"/>
      </dsp:txXfrm>
    </dsp:sp>
    <dsp:sp modelId="{4FD5E21A-70CA-4088-A238-8B601F6AACFB}">
      <dsp:nvSpPr>
        <dsp:cNvPr id="0" name=""/>
        <dsp:cNvSpPr/>
      </dsp:nvSpPr>
      <dsp:spPr>
        <a:xfrm>
          <a:off x="1726787" y="2311977"/>
          <a:ext cx="3418885" cy="104234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solidFill>
                <a:schemeClr val="tx1"/>
              </a:solidFill>
            </a:rPr>
            <a:t>Образовательные</a:t>
          </a:r>
          <a:r>
            <a:rPr lang="ru-RU" sz="2500" kern="1200" baseline="0" dirty="0">
              <a:solidFill>
                <a:schemeClr val="tx1"/>
              </a:solidFill>
            </a:rPr>
            <a:t> программы </a:t>
          </a:r>
          <a:endParaRPr lang="ru-RU" sz="2500" kern="1200" dirty="0">
            <a:solidFill>
              <a:schemeClr val="tx1"/>
            </a:solidFill>
          </a:endParaRPr>
        </a:p>
      </dsp:txBody>
      <dsp:txXfrm>
        <a:off x="1726787" y="2311977"/>
        <a:ext cx="3418885" cy="1042343"/>
      </dsp:txXfrm>
    </dsp:sp>
    <dsp:sp modelId="{5EA85CA0-29CE-4E98-A53F-7A939C606CBE}">
      <dsp:nvSpPr>
        <dsp:cNvPr id="0" name=""/>
        <dsp:cNvSpPr/>
      </dsp:nvSpPr>
      <dsp:spPr>
        <a:xfrm>
          <a:off x="1726787" y="3614906"/>
          <a:ext cx="3418885" cy="104234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solidFill>
                <a:schemeClr val="tx1"/>
              </a:solidFill>
            </a:rPr>
            <a:t>УГСН</a:t>
          </a:r>
        </a:p>
      </dsp:txBody>
      <dsp:txXfrm>
        <a:off x="1726787" y="3614906"/>
        <a:ext cx="3418885" cy="1042343"/>
      </dsp:txXfrm>
    </dsp:sp>
    <dsp:sp modelId="{84DA807D-A9F6-4209-A643-692B8E48FD2F}">
      <dsp:nvSpPr>
        <dsp:cNvPr id="0" name=""/>
        <dsp:cNvSpPr/>
      </dsp:nvSpPr>
      <dsp:spPr>
        <a:xfrm>
          <a:off x="1726787" y="4917835"/>
          <a:ext cx="3418885" cy="104234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solidFill>
                <a:schemeClr val="tx1"/>
              </a:solidFill>
            </a:rPr>
            <a:t>Регионы</a:t>
          </a:r>
        </a:p>
      </dsp:txBody>
      <dsp:txXfrm>
        <a:off x="1726787" y="4917835"/>
        <a:ext cx="3418885" cy="1042343"/>
      </dsp:txXfrm>
    </dsp:sp>
    <dsp:sp modelId="{729A3E62-B2D1-4640-A25F-3A0C5581E0F7}">
      <dsp:nvSpPr>
        <dsp:cNvPr id="0" name=""/>
        <dsp:cNvSpPr/>
      </dsp:nvSpPr>
      <dsp:spPr>
        <a:xfrm>
          <a:off x="-463641" y="3672564"/>
          <a:ext cx="1970961" cy="1042343"/>
        </a:xfrm>
        <a:prstGeom prst="rect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solidFill>
                <a:schemeClr val="tx1"/>
              </a:solidFill>
            </a:rPr>
            <a:t>По пороговому значению </a:t>
          </a:r>
        </a:p>
      </dsp:txBody>
      <dsp:txXfrm>
        <a:off x="-463641" y="3672564"/>
        <a:ext cx="1970961" cy="10423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F0F3D3-884F-8E45-98AB-E8ADE6E0FD28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41425"/>
            <a:ext cx="47371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BCF3A-9B41-AC48-BBC4-8EC043A9334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923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1pPr>
    <a:lvl2pPr marL="646469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2pPr>
    <a:lvl3pPr marL="1292937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3pPr>
    <a:lvl4pPr marL="1939406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4pPr>
    <a:lvl5pPr marL="2585874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5pPr>
    <a:lvl6pPr marL="3232343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6pPr>
    <a:lvl7pPr marL="387881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7pPr>
    <a:lvl8pPr marL="452528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8pPr>
    <a:lvl9pPr marL="5171747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2.xml" 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2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478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233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234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7536420" y="0"/>
            <a:ext cx="7582932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548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10039700" y="0"/>
            <a:ext cx="5079650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6924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723034" y="-57713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965877" y="-200837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930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2848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869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2"/>
            <a:ext cx="13040439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3"/>
            <a:ext cx="13040439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101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10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6" y="2620980"/>
            <a:ext cx="63961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6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24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875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6707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970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5"/>
            <a:ext cx="7654171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3202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5"/>
            <a:ext cx="7654171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9942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2914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432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487248" y="888"/>
            <a:ext cx="1530949" cy="1604132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4122" y="334963"/>
            <a:ext cx="900953" cy="816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116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6950503" y="0"/>
            <a:ext cx="8168855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34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1905000" y="11"/>
            <a:ext cx="1352732" cy="1339448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3257738" y="11"/>
            <a:ext cx="1861619" cy="133944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3480750" y="220281"/>
            <a:ext cx="1638602" cy="87677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6444827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761796" y="11"/>
            <a:ext cx="1352732" cy="1339448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2114534" y="11"/>
            <a:ext cx="3004823" cy="1339448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14535" y="220281"/>
            <a:ext cx="3004823" cy="87677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4059931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2"/>
            <a:ext cx="13040439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3"/>
            <a:ext cx="13040439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2181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290360" y="11"/>
            <a:ext cx="1352732" cy="1339448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643096" y="11"/>
            <a:ext cx="3476261" cy="1339448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1485951" y="220281"/>
            <a:ext cx="3633407" cy="87677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17759600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7501985" y="4837850"/>
            <a:ext cx="7617368" cy="5853974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3495703" y="2"/>
            <a:ext cx="2933003" cy="2687688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961538" y="3592719"/>
            <a:ext cx="4261604" cy="4172109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5278" y="3274936"/>
            <a:ext cx="8027766" cy="934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2735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364893" y="9307592"/>
            <a:ext cx="4261604" cy="417210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519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5791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6" y="2620980"/>
            <a:ext cx="63961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6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154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48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831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5"/>
            <a:ext cx="7654171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436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5"/>
            <a:ext cx="7654171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162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theme" Target="../theme/theme1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 /><Relationship Id="rId13" Type="http://schemas.openxmlformats.org/officeDocument/2006/relationships/slideLayout" Target="../slideLayouts/slideLayout27.xml" /><Relationship Id="rId18" Type="http://schemas.openxmlformats.org/officeDocument/2006/relationships/theme" Target="../theme/theme2.xml" /><Relationship Id="rId3" Type="http://schemas.openxmlformats.org/officeDocument/2006/relationships/slideLayout" Target="../slideLayouts/slideLayout17.xml" /><Relationship Id="rId21" Type="http://schemas.openxmlformats.org/officeDocument/2006/relationships/oleObject" Target="../embeddings/oleObject1.bin" /><Relationship Id="rId7" Type="http://schemas.openxmlformats.org/officeDocument/2006/relationships/slideLayout" Target="../slideLayouts/slideLayout21.xml" /><Relationship Id="rId12" Type="http://schemas.openxmlformats.org/officeDocument/2006/relationships/slideLayout" Target="../slideLayouts/slideLayout26.xml" /><Relationship Id="rId17" Type="http://schemas.openxmlformats.org/officeDocument/2006/relationships/slideLayout" Target="../slideLayouts/slideLayout31.xml" /><Relationship Id="rId2" Type="http://schemas.openxmlformats.org/officeDocument/2006/relationships/slideLayout" Target="../slideLayouts/slideLayout16.xml" /><Relationship Id="rId16" Type="http://schemas.openxmlformats.org/officeDocument/2006/relationships/slideLayout" Target="../slideLayouts/slideLayout30.xml" /><Relationship Id="rId20" Type="http://schemas.openxmlformats.org/officeDocument/2006/relationships/tags" Target="../tags/tag1.xml" /><Relationship Id="rId1" Type="http://schemas.openxmlformats.org/officeDocument/2006/relationships/slideLayout" Target="../slideLayouts/slideLayout15.xml" /><Relationship Id="rId6" Type="http://schemas.openxmlformats.org/officeDocument/2006/relationships/slideLayout" Target="../slideLayouts/slideLayout20.xml" /><Relationship Id="rId11" Type="http://schemas.openxmlformats.org/officeDocument/2006/relationships/slideLayout" Target="../slideLayouts/slideLayout25.xml" /><Relationship Id="rId5" Type="http://schemas.openxmlformats.org/officeDocument/2006/relationships/slideLayout" Target="../slideLayouts/slideLayout19.xml" /><Relationship Id="rId15" Type="http://schemas.openxmlformats.org/officeDocument/2006/relationships/slideLayout" Target="../slideLayouts/slideLayout29.xml" /><Relationship Id="rId10" Type="http://schemas.openxmlformats.org/officeDocument/2006/relationships/slideLayout" Target="../slideLayouts/slideLayout24.xml" /><Relationship Id="rId19" Type="http://schemas.openxmlformats.org/officeDocument/2006/relationships/vmlDrawing" Target="../drawings/vmlDrawing1.vml" /><Relationship Id="rId4" Type="http://schemas.openxmlformats.org/officeDocument/2006/relationships/slideLayout" Target="../slideLayouts/slideLayout18.xml" /><Relationship Id="rId9" Type="http://schemas.openxmlformats.org/officeDocument/2006/relationships/slideLayout" Target="../slideLayouts/slideLayout23.xml" /><Relationship Id="rId14" Type="http://schemas.openxmlformats.org/officeDocument/2006/relationships/slideLayout" Target="../slideLayouts/slideLayout28.xml" /><Relationship Id="rId22" Type="http://schemas.openxmlformats.org/officeDocument/2006/relationships/image" Target="../media/image2.emf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6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6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5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5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24" r:id="rId13"/>
    <p:sldLayoutId id="2147483741" r:id="rId14"/>
  </p:sldLayoutIdLst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6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6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5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2383" y="2361"/>
          <a:ext cx="2381" cy="2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0F965F44-8AE5-201B-AA20-8EEA05BF5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383" y="2361"/>
                        <a:ext cx="2381" cy="2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373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733" r:id="rId13"/>
    <p:sldLayoutId id="2147483735" r:id="rId14"/>
    <p:sldLayoutId id="2147483736" r:id="rId15"/>
    <p:sldLayoutId id="2147483737" r:id="rId16"/>
    <p:sldLayoutId id="2147483738" r:id="rId17"/>
  </p:sldLayoutIdLst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Layout" Target="../slideLayouts/slideLayout12.xml" 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 /><Relationship Id="rId2" Type="http://schemas.openxmlformats.org/officeDocument/2006/relationships/diagramData" Target="../diagrams/data5.xml" /><Relationship Id="rId1" Type="http://schemas.openxmlformats.org/officeDocument/2006/relationships/slideLayout" Target="../slideLayouts/slideLayout26.xml" /><Relationship Id="rId6" Type="http://schemas.microsoft.com/office/2007/relationships/diagramDrawing" Target="../diagrams/drawing5.xml" /><Relationship Id="rId5" Type="http://schemas.openxmlformats.org/officeDocument/2006/relationships/diagramColors" Target="../diagrams/colors5.xml" /><Relationship Id="rId4" Type="http://schemas.openxmlformats.org/officeDocument/2006/relationships/diagramQuickStyle" Target="../diagrams/quickStyle5.xml" 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 /><Relationship Id="rId2" Type="http://schemas.openxmlformats.org/officeDocument/2006/relationships/diagramData" Target="../diagrams/data6.xml" /><Relationship Id="rId1" Type="http://schemas.openxmlformats.org/officeDocument/2006/relationships/slideLayout" Target="../slideLayouts/slideLayout26.xml" /><Relationship Id="rId6" Type="http://schemas.microsoft.com/office/2007/relationships/diagramDrawing" Target="../diagrams/drawing6.xml" /><Relationship Id="rId5" Type="http://schemas.openxmlformats.org/officeDocument/2006/relationships/diagramColors" Target="../diagrams/colors6.xml" /><Relationship Id="rId4" Type="http://schemas.openxmlformats.org/officeDocument/2006/relationships/diagramQuickStyle" Target="../diagrams/quickStyle6.xml" 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 /><Relationship Id="rId2" Type="http://schemas.openxmlformats.org/officeDocument/2006/relationships/diagramData" Target="../diagrams/data7.xml" /><Relationship Id="rId1" Type="http://schemas.openxmlformats.org/officeDocument/2006/relationships/slideLayout" Target="../slideLayouts/slideLayout26.xml" /><Relationship Id="rId6" Type="http://schemas.microsoft.com/office/2007/relationships/diagramDrawing" Target="../diagrams/drawing7.xml" /><Relationship Id="rId5" Type="http://schemas.openxmlformats.org/officeDocument/2006/relationships/diagramColors" Target="../diagrams/colors7.xml" /><Relationship Id="rId4" Type="http://schemas.openxmlformats.org/officeDocument/2006/relationships/diagramQuickStyle" Target="../diagrams/quickStyle7.xml" 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 /><Relationship Id="rId1" Type="http://schemas.openxmlformats.org/officeDocument/2006/relationships/slideLayout" Target="../slideLayouts/slideLayout26.xml" 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Layout" Target="../slideLayouts/slideLayout26.xml" 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 /><Relationship Id="rId1" Type="http://schemas.openxmlformats.org/officeDocument/2006/relationships/slideLayout" Target="../slideLayouts/slideLayout26.xml" 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 /><Relationship Id="rId1" Type="http://schemas.openxmlformats.org/officeDocument/2006/relationships/slideLayout" Target="../slideLayouts/slideLayout26.xml" 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 /><Relationship Id="rId1" Type="http://schemas.openxmlformats.org/officeDocument/2006/relationships/slideLayout" Target="../slideLayouts/slideLayout26.xml" 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 /><Relationship Id="rId2" Type="http://schemas.openxmlformats.org/officeDocument/2006/relationships/diagramData" Target="../diagrams/data1.xml" /><Relationship Id="rId1" Type="http://schemas.openxmlformats.org/officeDocument/2006/relationships/slideLayout" Target="../slideLayouts/slideLayout26.xml" /><Relationship Id="rId6" Type="http://schemas.microsoft.com/office/2007/relationships/diagramDrawing" Target="../diagrams/drawing1.xml" /><Relationship Id="rId5" Type="http://schemas.openxmlformats.org/officeDocument/2006/relationships/diagramColors" Target="../diagrams/colors1.xml" /><Relationship Id="rId4" Type="http://schemas.openxmlformats.org/officeDocument/2006/relationships/diagramQuickStyle" Target="../diagrams/quickStyle1.xml" 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 /><Relationship Id="rId2" Type="http://schemas.openxmlformats.org/officeDocument/2006/relationships/image" Target="../media/image100.png" /><Relationship Id="rId1" Type="http://schemas.openxmlformats.org/officeDocument/2006/relationships/slideLayout" Target="../slideLayouts/slideLayout26.xml" 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 /><Relationship Id="rId2" Type="http://schemas.openxmlformats.org/officeDocument/2006/relationships/image" Target="../media/image13.png" /><Relationship Id="rId1" Type="http://schemas.openxmlformats.org/officeDocument/2006/relationships/slideLayout" Target="../slideLayouts/slideLayout26.xml" 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 /><Relationship Id="rId1" Type="http://schemas.openxmlformats.org/officeDocument/2006/relationships/slideLayout" Target="../slideLayouts/slideLayout26.xml" 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 /><Relationship Id="rId1" Type="http://schemas.openxmlformats.org/officeDocument/2006/relationships/slideLayout" Target="../slideLayouts/slideLayout26.xml" 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 /><Relationship Id="rId1" Type="http://schemas.openxmlformats.org/officeDocument/2006/relationships/slideLayout" Target="../slideLayouts/slideLayout26.xml" 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 /><Relationship Id="rId1" Type="http://schemas.openxmlformats.org/officeDocument/2006/relationships/slideLayout" Target="../slideLayouts/slideLayout26.xml" 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 /><Relationship Id="rId1" Type="http://schemas.openxmlformats.org/officeDocument/2006/relationships/slideLayout" Target="../slideLayouts/slideLayout26.xml" 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 /><Relationship Id="rId1" Type="http://schemas.openxmlformats.org/officeDocument/2006/relationships/slideLayout" Target="../slideLayouts/slideLayout26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 /><Relationship Id="rId2" Type="http://schemas.openxmlformats.org/officeDocument/2006/relationships/diagramData" Target="../diagrams/data2.xml" /><Relationship Id="rId1" Type="http://schemas.openxmlformats.org/officeDocument/2006/relationships/slideLayout" Target="../slideLayouts/slideLayout26.xml" /><Relationship Id="rId6" Type="http://schemas.microsoft.com/office/2007/relationships/diagramDrawing" Target="../diagrams/drawing2.xml" /><Relationship Id="rId5" Type="http://schemas.openxmlformats.org/officeDocument/2006/relationships/diagramColors" Target="../diagrams/colors2.xml" /><Relationship Id="rId4" Type="http://schemas.openxmlformats.org/officeDocument/2006/relationships/diagramQuickStyle" Target="../diagrams/quickStyle2.xml" 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 /><Relationship Id="rId1" Type="http://schemas.openxmlformats.org/officeDocument/2006/relationships/slideLayout" Target="../slideLayouts/slideLayout26.xml" 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 /><Relationship Id="rId1" Type="http://schemas.openxmlformats.org/officeDocument/2006/relationships/slideLayout" Target="../slideLayouts/slideLayout26.xml" 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 /><Relationship Id="rId1" Type="http://schemas.openxmlformats.org/officeDocument/2006/relationships/slideLayout" Target="../slideLayouts/slideLayout26.xml" 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 /><Relationship Id="rId1" Type="http://schemas.openxmlformats.org/officeDocument/2006/relationships/slideLayout" Target="../slideLayouts/slideLayout26.xml" 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 /><Relationship Id="rId1" Type="http://schemas.openxmlformats.org/officeDocument/2006/relationships/slideLayout" Target="../slideLayouts/slideLayout26.xml" 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 /><Relationship Id="rId1" Type="http://schemas.openxmlformats.org/officeDocument/2006/relationships/slideLayout" Target="../slideLayouts/slideLayout26.xml" 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 /><Relationship Id="rId2" Type="http://schemas.openxmlformats.org/officeDocument/2006/relationships/diagramData" Target="../diagrams/data3.xml" /><Relationship Id="rId1" Type="http://schemas.openxmlformats.org/officeDocument/2006/relationships/slideLayout" Target="../slideLayouts/slideLayout26.xml" /><Relationship Id="rId6" Type="http://schemas.microsoft.com/office/2007/relationships/diagramDrawing" Target="../diagrams/drawing3.xml" /><Relationship Id="rId5" Type="http://schemas.openxmlformats.org/officeDocument/2006/relationships/diagramColors" Target="../diagrams/colors3.xml" /><Relationship Id="rId4" Type="http://schemas.openxmlformats.org/officeDocument/2006/relationships/diagramQuickStyle" Target="../diagrams/quickStyle3.xml" 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 /><Relationship Id="rId2" Type="http://schemas.openxmlformats.org/officeDocument/2006/relationships/diagramData" Target="../diagrams/data8.xml" /><Relationship Id="rId1" Type="http://schemas.openxmlformats.org/officeDocument/2006/relationships/slideLayout" Target="../slideLayouts/slideLayout26.xml" /><Relationship Id="rId6" Type="http://schemas.microsoft.com/office/2007/relationships/diagramDrawing" Target="../diagrams/drawing8.xml" /><Relationship Id="rId5" Type="http://schemas.openxmlformats.org/officeDocument/2006/relationships/diagramColors" Target="../diagrams/colors8.xml" /><Relationship Id="rId4" Type="http://schemas.openxmlformats.org/officeDocument/2006/relationships/diagramQuickStyle" Target="../diagrams/quickStyle8.xml" 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 /><Relationship Id="rId2" Type="http://schemas.openxmlformats.org/officeDocument/2006/relationships/image" Target="../media/image25.png" /><Relationship Id="rId1" Type="http://schemas.openxmlformats.org/officeDocument/2006/relationships/slideLayout" Target="../slideLayouts/slideLayout26.xml" 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 /><Relationship Id="rId1" Type="http://schemas.openxmlformats.org/officeDocument/2006/relationships/slideLayout" Target="../slideLayouts/slideLayout26.xml" 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 /><Relationship Id="rId2" Type="http://schemas.openxmlformats.org/officeDocument/2006/relationships/image" Target="../media/image28.png" /><Relationship Id="rId1" Type="http://schemas.openxmlformats.org/officeDocument/2006/relationships/slideLayout" Target="../slideLayouts/slideLayout26.xml" 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 /><Relationship Id="rId1" Type="http://schemas.openxmlformats.org/officeDocument/2006/relationships/slideLayout" Target="../slideLayouts/slideLayout26.xml" 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 /><Relationship Id="rId2" Type="http://schemas.openxmlformats.org/officeDocument/2006/relationships/image" Target="../media/image31.png" /><Relationship Id="rId1" Type="http://schemas.openxmlformats.org/officeDocument/2006/relationships/slideLayout" Target="../slideLayouts/slideLayout26.xml" 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 /><Relationship Id="rId2" Type="http://schemas.openxmlformats.org/officeDocument/2006/relationships/diagramData" Target="../diagrams/data9.xml" /><Relationship Id="rId1" Type="http://schemas.openxmlformats.org/officeDocument/2006/relationships/slideLayout" Target="../slideLayouts/slideLayout26.xml" /><Relationship Id="rId6" Type="http://schemas.microsoft.com/office/2007/relationships/diagramDrawing" Target="../diagrams/drawing9.xml" /><Relationship Id="rId5" Type="http://schemas.openxmlformats.org/officeDocument/2006/relationships/diagramColors" Target="../diagrams/colors9.xml" /><Relationship Id="rId4" Type="http://schemas.openxmlformats.org/officeDocument/2006/relationships/diagramQuickStyle" Target="../diagrams/quickStyle9.xml" 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 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 /><Relationship Id="rId1" Type="http://schemas.openxmlformats.org/officeDocument/2006/relationships/slideLayout" Target="../slideLayouts/slideLayout26.xml" 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 /><Relationship Id="rId2" Type="http://schemas.openxmlformats.org/officeDocument/2006/relationships/diagramData" Target="../diagrams/data4.xml" /><Relationship Id="rId1" Type="http://schemas.openxmlformats.org/officeDocument/2006/relationships/slideLayout" Target="../slideLayouts/slideLayout26.xml" /><Relationship Id="rId6" Type="http://schemas.microsoft.com/office/2007/relationships/diagramDrawing" Target="../diagrams/drawing4.xml" /><Relationship Id="rId5" Type="http://schemas.openxmlformats.org/officeDocument/2006/relationships/diagramColors" Target="../diagrams/colors4.xml" /><Relationship Id="rId4" Type="http://schemas.openxmlformats.org/officeDocument/2006/relationships/diagramQuickStyle" Target="../diagrams/quickStyle4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1887350" y="4755111"/>
            <a:ext cx="7380054" cy="2800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r>
              <a:rPr lang="ru-RU" sz="4400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КРЕДИТАЦИОННЫЙ МОНИТОРИНГ В СИСТЕМЕ ВЫСШЕГО ОБРАЗОВАНИЯ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960" y="1663059"/>
            <a:ext cx="2136626" cy="1935349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-764739" y="7205470"/>
            <a:ext cx="2451688" cy="2284219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ECFF97-7BEB-906F-F7F4-C8F4051EEF62}"/>
              </a:ext>
            </a:extLst>
          </p:cNvPr>
          <p:cNvSpPr txBox="1"/>
          <p:nvPr/>
        </p:nvSpPr>
        <p:spPr>
          <a:xfrm>
            <a:off x="1880960" y="8240486"/>
            <a:ext cx="6402778" cy="1658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Алтыникова Наталья Васильевна, </a:t>
            </a:r>
          </a:p>
          <a:p>
            <a:r>
              <a:rPr lang="ru-RU" dirty="0"/>
              <a:t>советник руководителя Рособрнадзора,</a:t>
            </a:r>
          </a:p>
          <a:p>
            <a:r>
              <a:rPr lang="ru-RU" dirty="0"/>
              <a:t>член общественного совета Рособрнадзора, </a:t>
            </a:r>
          </a:p>
          <a:p>
            <a:r>
              <a:rPr lang="ru-RU" dirty="0"/>
              <a:t>директор по развитию ГК «Просвещение»</a:t>
            </a:r>
          </a:p>
        </p:txBody>
      </p:sp>
    </p:spTree>
    <p:extLst>
      <p:ext uri="{BB962C8B-B14F-4D97-AF65-F5344CB8AC3E}">
        <p14:creationId xmlns:p14="http://schemas.microsoft.com/office/powerpoint/2010/main" val="2093442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39AE1F86-813D-09B2-597C-484EF430041B}"/>
              </a:ext>
            </a:extLst>
          </p:cNvPr>
          <p:cNvSpPr/>
          <p:nvPr/>
        </p:nvSpPr>
        <p:spPr>
          <a:xfrm>
            <a:off x="1413336" y="643306"/>
            <a:ext cx="11856349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 КРИТЕРИИ ОТБОРА ПРОГРАММ  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E7BC38C-DC04-080B-CB22-B1DD71BDDF91}"/>
              </a:ext>
            </a:extLst>
          </p:cNvPr>
          <p:cNvSpPr txBox="1">
            <a:spLocks/>
          </p:cNvSpPr>
          <p:nvPr/>
        </p:nvSpPr>
        <p:spPr>
          <a:xfrm>
            <a:off x="674914" y="2487580"/>
            <a:ext cx="6884761" cy="7590463"/>
          </a:xfrm>
          <a:prstGeom prst="rect">
            <a:avLst/>
          </a:prstGeom>
        </p:spPr>
        <p:txBody>
          <a:bodyPr>
            <a:norm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endParaRPr lang="ru-RU" sz="2800" dirty="0"/>
          </a:p>
          <a:p>
            <a:pPr marL="457200" indent="-457200">
              <a:buFont typeface="+mj-lt"/>
              <a:buAutoNum type="arabicPeriod"/>
            </a:pPr>
            <a:r>
              <a:rPr lang="ru-RU" sz="2800" dirty="0"/>
              <a:t>Наличие набора в 2022 году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800" dirty="0"/>
              <a:t>Наличие выпуска в году, соответствующем отчетному периоду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800" dirty="0"/>
              <a:t>Наличие российских студентов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800" dirty="0"/>
              <a:t>Наличие аккредитации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800" b="1" dirty="0"/>
              <a:t>Приоритетная значимость для развития экономики</a:t>
            </a:r>
          </a:p>
          <a:p>
            <a:pPr marL="457200" indent="-457200">
              <a:buFont typeface="+mj-lt"/>
              <a:buAutoNum type="arabicPeriod"/>
            </a:pPr>
            <a:endParaRPr lang="ru-RU" sz="2800" dirty="0"/>
          </a:p>
          <a:p>
            <a:pPr marL="0" indent="0">
              <a:buNone/>
            </a:pPr>
            <a:endParaRPr lang="ru-RU" dirty="0"/>
          </a:p>
          <a:p>
            <a:endParaRPr lang="ru-RU" dirty="0"/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C817C1B5-3118-5980-2ED2-A19481C91359}"/>
              </a:ext>
            </a:extLst>
          </p:cNvPr>
          <p:cNvCxnSpPr>
            <a:cxnSpLocks/>
          </p:cNvCxnSpPr>
          <p:nvPr/>
        </p:nvCxnSpPr>
        <p:spPr>
          <a:xfrm flipV="1">
            <a:off x="7750629" y="2884714"/>
            <a:ext cx="0" cy="6879772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81FA0A4-0338-DACD-12F1-6AD9A24BA9A5}"/>
              </a:ext>
            </a:extLst>
          </p:cNvPr>
          <p:cNvSpPr txBox="1"/>
          <p:nvPr/>
        </p:nvSpPr>
        <p:spPr>
          <a:xfrm>
            <a:off x="8251371" y="2786743"/>
            <a:ext cx="5998027" cy="7533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AutoNum type="arabicPeriod"/>
            </a:pPr>
            <a:r>
              <a:rPr lang="ru-RU" dirty="0"/>
              <a:t>Если ОПОП реализуются по разным ФГОС? 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Если нет контингента обучающихся?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Если нет набора в 2023 году, но контингент есть?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Если в процессе аккредитационного мониторинга осуществляется реорганизация вуза?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Если на программе есть несколько иностранных студентов?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Можно ли меньше 10 ОПОП?</a:t>
            </a:r>
          </a:p>
          <a:p>
            <a:pPr marL="514350" indent="-514350">
              <a:buAutoNum type="arabicPeriod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92025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D85554DC-B4CD-9031-B8D7-315CB07474E6}"/>
              </a:ext>
            </a:extLst>
          </p:cNvPr>
          <p:cNvSpPr/>
          <p:nvPr/>
        </p:nvSpPr>
        <p:spPr>
          <a:xfrm>
            <a:off x="1413336" y="643306"/>
            <a:ext cx="11856349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АККРЕДИТАЦИОННЫЕ ПОКАЗАТЕЛИ    </a:t>
            </a:r>
          </a:p>
        </p:txBody>
      </p:sp>
      <p:graphicFrame>
        <p:nvGraphicFramePr>
          <p:cNvPr id="3" name="Объект 3">
            <a:extLst>
              <a:ext uri="{FF2B5EF4-FFF2-40B4-BE49-F238E27FC236}">
                <a16:creationId xmlns:a16="http://schemas.microsoft.com/office/drawing/2014/main" id="{025192F6-7630-9895-9807-DCE71CC2A3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5171027"/>
              </p:ext>
            </p:extLst>
          </p:nvPr>
        </p:nvGraphicFramePr>
        <p:xfrm>
          <a:off x="1255492" y="1713678"/>
          <a:ext cx="12172035" cy="83348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D1314D1-2F06-BA56-1612-DD3A087C132E}"/>
              </a:ext>
            </a:extLst>
          </p:cNvPr>
          <p:cNvSpPr txBox="1"/>
          <p:nvPr/>
        </p:nvSpPr>
        <p:spPr>
          <a:xfrm>
            <a:off x="5448039" y="9209314"/>
            <a:ext cx="422327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600" dirty="0"/>
              <a:t>8</a:t>
            </a:r>
            <a:r>
              <a:rPr lang="ru-RU" sz="4400" dirty="0"/>
              <a:t> показателей </a:t>
            </a:r>
          </a:p>
        </p:txBody>
      </p:sp>
    </p:spTree>
    <p:extLst>
      <p:ext uri="{BB962C8B-B14F-4D97-AF65-F5344CB8AC3E}">
        <p14:creationId xmlns:p14="http://schemas.microsoft.com/office/powerpoint/2010/main" val="2824424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1413336" y="643306"/>
            <a:ext cx="11856349" cy="1323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ФОРМУЛА РАСЧЕТА СУММАРНОГО КОЛИЧЕСТВА БАЛЛОВ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952FB19-9429-D22A-EA32-DB8817B49DC0}"/>
              </a:ext>
            </a:extLst>
          </p:cNvPr>
          <p:cNvSpPr txBox="1"/>
          <p:nvPr/>
        </p:nvSpPr>
        <p:spPr>
          <a:xfrm>
            <a:off x="395088" y="3692927"/>
            <a:ext cx="14899341" cy="1274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4000" b="1" dirty="0" err="1"/>
              <a:t>АПс</a:t>
            </a:r>
            <a:r>
              <a:rPr lang="ru-RU" sz="4000" b="1" dirty="0"/>
              <a:t> = АП</a:t>
            </a:r>
            <a:r>
              <a:rPr lang="ru-RU" sz="4000" b="1" baseline="-25000" dirty="0"/>
              <a:t>1</a:t>
            </a:r>
            <a:r>
              <a:rPr lang="ru-RU" sz="4000" b="1" dirty="0"/>
              <a:t>/АП</a:t>
            </a:r>
            <a:r>
              <a:rPr lang="ru-RU" sz="4000" b="1" baseline="-25000" dirty="0"/>
              <a:t>1.1 </a:t>
            </a:r>
            <a:r>
              <a:rPr lang="ru-RU" sz="4000" b="1" dirty="0"/>
              <a:t>+ АП</a:t>
            </a:r>
            <a:r>
              <a:rPr lang="ru-RU" sz="4000" b="1" baseline="-25000" dirty="0"/>
              <a:t>2</a:t>
            </a:r>
            <a:r>
              <a:rPr lang="ru-RU" sz="4000" b="1" dirty="0"/>
              <a:t> + АП</a:t>
            </a:r>
            <a:r>
              <a:rPr lang="ru-RU" sz="4000" b="1" baseline="-25000" dirty="0"/>
              <a:t>3</a:t>
            </a:r>
            <a:r>
              <a:rPr lang="ru-RU" sz="4000" b="1" dirty="0"/>
              <a:t> + АП</a:t>
            </a:r>
            <a:r>
              <a:rPr lang="ru-RU" sz="4000" b="1" baseline="-25000" dirty="0"/>
              <a:t>4</a:t>
            </a:r>
            <a:r>
              <a:rPr lang="ru-RU" sz="4000" b="1" dirty="0"/>
              <a:t> + АП</a:t>
            </a:r>
            <a:r>
              <a:rPr lang="ru-RU" sz="4000" b="1" baseline="-25000" dirty="0"/>
              <a:t>5</a:t>
            </a:r>
            <a:r>
              <a:rPr lang="ru-RU" sz="4000" b="1" dirty="0"/>
              <a:t> + АП</a:t>
            </a:r>
            <a:r>
              <a:rPr lang="ru-RU" sz="4000" b="1" baseline="-25000" dirty="0"/>
              <a:t>6</a:t>
            </a:r>
            <a:r>
              <a:rPr lang="ru-RU" sz="4000" b="1" dirty="0"/>
              <a:t> + АП</a:t>
            </a:r>
            <a:r>
              <a:rPr lang="ru-RU" sz="4000" b="1" baseline="-25000" dirty="0"/>
              <a:t>7</a:t>
            </a:r>
            <a:r>
              <a:rPr lang="ru-RU" sz="4000" b="1" dirty="0"/>
              <a:t> + АП</a:t>
            </a:r>
            <a:r>
              <a:rPr lang="ru-RU" sz="4000" b="1" baseline="-25000" dirty="0"/>
              <a:t>8</a:t>
            </a:r>
            <a:endParaRPr lang="ru-RU" sz="4000" b="1" dirty="0"/>
          </a:p>
          <a:p>
            <a:pPr indent="450215" algn="just">
              <a:lnSpc>
                <a:spcPct val="150000"/>
              </a:lnSpc>
            </a:pPr>
            <a:endParaRPr lang="ru-RU" sz="2800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474B81C-1458-8FD4-1925-109B853B1CFC}"/>
              </a:ext>
            </a:extLst>
          </p:cNvPr>
          <p:cNvSpPr/>
          <p:nvPr/>
        </p:nvSpPr>
        <p:spPr>
          <a:xfrm>
            <a:off x="395088" y="3594956"/>
            <a:ext cx="14409483" cy="914400"/>
          </a:xfrm>
          <a:prstGeom prst="rect">
            <a:avLst/>
          </a:prstGeom>
          <a:noFill/>
          <a:ln w="57150">
            <a:solidFill>
              <a:srgbClr val="423D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" name="Схема 9">
            <a:extLst>
              <a:ext uri="{FF2B5EF4-FFF2-40B4-BE49-F238E27FC236}">
                <a16:creationId xmlns:a16="http://schemas.microsoft.com/office/drawing/2014/main" id="{4D0E0DCA-5927-3075-7EBF-64F8DD4BC4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1320044"/>
              </p:ext>
            </p:extLst>
          </p:nvPr>
        </p:nvGraphicFramePr>
        <p:xfrm>
          <a:off x="889810" y="4961733"/>
          <a:ext cx="8178957" cy="55145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3ECDCEE-DFB4-8974-25A2-0B725D86E8AF}"/>
              </a:ext>
            </a:extLst>
          </p:cNvPr>
          <p:cNvSpPr/>
          <p:nvPr/>
        </p:nvSpPr>
        <p:spPr>
          <a:xfrm>
            <a:off x="6645273" y="6179932"/>
            <a:ext cx="3663498" cy="914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М</a:t>
            </a:r>
            <a:r>
              <a:rPr lang="en-US" b="1" dirty="0">
                <a:solidFill>
                  <a:schemeClr val="bg1"/>
                </a:solidFill>
              </a:rPr>
              <a:t>in</a:t>
            </a:r>
            <a:r>
              <a:rPr lang="ru-RU" b="1" dirty="0">
                <a:solidFill>
                  <a:schemeClr val="bg1"/>
                </a:solidFill>
              </a:rPr>
              <a:t> - 70 баллов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196C88A0-BBD7-0383-9982-4E1451C31098}"/>
              </a:ext>
            </a:extLst>
          </p:cNvPr>
          <p:cNvSpPr/>
          <p:nvPr/>
        </p:nvSpPr>
        <p:spPr>
          <a:xfrm>
            <a:off x="6645274" y="8306949"/>
            <a:ext cx="3663497" cy="914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М</a:t>
            </a:r>
            <a:r>
              <a:rPr lang="en-US" b="1" dirty="0"/>
              <a:t>in</a:t>
            </a:r>
            <a:r>
              <a:rPr lang="ru-RU" b="1" dirty="0"/>
              <a:t> - 60 баллов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546F94D-B865-F6AA-9FBB-78794A51446A}"/>
              </a:ext>
            </a:extLst>
          </p:cNvPr>
          <p:cNvSpPr/>
          <p:nvPr/>
        </p:nvSpPr>
        <p:spPr>
          <a:xfrm>
            <a:off x="10591801" y="6179932"/>
            <a:ext cx="3794128" cy="914400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Мах  - 110 баллов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7E14AFC-A114-EB96-58E0-64F36E0925A6}"/>
              </a:ext>
            </a:extLst>
          </p:cNvPr>
          <p:cNvSpPr/>
          <p:nvPr/>
        </p:nvSpPr>
        <p:spPr>
          <a:xfrm>
            <a:off x="10591802" y="8306949"/>
            <a:ext cx="3794128" cy="914400"/>
          </a:xfrm>
          <a:prstGeom prst="rect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Мах - 80 баллов </a:t>
            </a:r>
          </a:p>
        </p:txBody>
      </p:sp>
    </p:spTree>
    <p:extLst>
      <p:ext uri="{BB962C8B-B14F-4D97-AF65-F5344CB8AC3E}">
        <p14:creationId xmlns:p14="http://schemas.microsoft.com/office/powerpoint/2010/main" val="29410237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9">
            <a:extLst>
              <a:ext uri="{FF2B5EF4-FFF2-40B4-BE49-F238E27FC236}">
                <a16:creationId xmlns:a16="http://schemas.microsoft.com/office/drawing/2014/main" id="{02B48A4E-D37D-2D67-57A1-EBBF764DF11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1689496"/>
              </p:ext>
            </p:extLst>
          </p:nvPr>
        </p:nvGraphicFramePr>
        <p:xfrm>
          <a:off x="1360713" y="2307788"/>
          <a:ext cx="11908972" cy="7162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616EC2AD-2EBE-A1C0-8953-DD697C55CDE3}"/>
              </a:ext>
            </a:extLst>
          </p:cNvPr>
          <p:cNvSpPr/>
          <p:nvPr/>
        </p:nvSpPr>
        <p:spPr>
          <a:xfrm>
            <a:off x="1413336" y="643306"/>
            <a:ext cx="11856349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СБОР ДАННЫХ     </a:t>
            </a:r>
          </a:p>
        </p:txBody>
      </p:sp>
    </p:spTree>
    <p:extLst>
      <p:ext uri="{BB962C8B-B14F-4D97-AF65-F5344CB8AC3E}">
        <p14:creationId xmlns:p14="http://schemas.microsoft.com/office/powerpoint/2010/main" val="39813030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393670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ЛИЧНЫЙ КАБИНЕТ ИС Г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5658" y="1600146"/>
            <a:ext cx="5919244" cy="87195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CDEA611-8943-3B00-2BCA-0D8DF0BF6364}"/>
              </a:ext>
            </a:extLst>
          </p:cNvPr>
          <p:cNvSpPr txBox="1"/>
          <p:nvPr/>
        </p:nvSpPr>
        <p:spPr>
          <a:xfrm>
            <a:off x="7391401" y="2754086"/>
            <a:ext cx="7119255" cy="40087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AutoNum type="arabicPeriod"/>
            </a:pPr>
            <a:r>
              <a:rPr lang="ru-RU" b="1" dirty="0"/>
              <a:t>Действующие личные кабинеты</a:t>
            </a:r>
          </a:p>
          <a:p>
            <a:r>
              <a:rPr lang="ru-RU" b="1" dirty="0"/>
              <a:t> у головных вузов </a:t>
            </a:r>
            <a:r>
              <a:rPr lang="ru-RU" dirty="0"/>
              <a:t>(имеющиеся логины и пароли)</a:t>
            </a:r>
          </a:p>
          <a:p>
            <a:endParaRPr lang="ru-RU" dirty="0"/>
          </a:p>
          <a:p>
            <a:pPr marL="514350" indent="-514350">
              <a:buAutoNum type="arabicPeriod" startAt="2"/>
            </a:pPr>
            <a:r>
              <a:rPr lang="ru-RU" b="1" dirty="0"/>
              <a:t>Новые личные кабинеты для филиалов</a:t>
            </a:r>
          </a:p>
          <a:p>
            <a:r>
              <a:rPr lang="ru-RU" dirty="0"/>
              <a:t>(доступен только раздел мониторинга, логины и пароли рассылаются Рособрнадзором за несколько дней до начала периода участия в мониторинге) </a:t>
            </a:r>
          </a:p>
        </p:txBody>
      </p:sp>
    </p:spTree>
    <p:extLst>
      <p:ext uri="{BB962C8B-B14F-4D97-AF65-F5344CB8AC3E}">
        <p14:creationId xmlns:p14="http://schemas.microsoft.com/office/powerpoint/2010/main" val="1938768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ВКЛАДКА «МОНИТОРИНГ»  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3341" y="2157932"/>
            <a:ext cx="13312667" cy="81275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881821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БРАЗОВАТЕЛЬНЫЕ ПРОГРАММЫ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9B33A2F-4247-4B9B-921C-CD7F481400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0857" y="1852294"/>
            <a:ext cx="13705115" cy="82164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311162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КНОПКА «ЗАМЕНА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069" y="2756647"/>
            <a:ext cx="14092646" cy="69725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65947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КНОПКА «ОТКАЗ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434" y="2595282"/>
            <a:ext cx="13690997" cy="70729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758357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1 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496493"/>
              </p:ext>
            </p:extLst>
          </p:nvPr>
        </p:nvGraphicFramePr>
        <p:xfrm>
          <a:off x="963168" y="2164976"/>
          <a:ext cx="13203936" cy="77715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07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189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74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577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Наименование показателя мониторинга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>
                          <a:effectLst/>
                        </a:rPr>
                        <a:t>Значение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>
                          <a:effectLst/>
                        </a:rPr>
                        <a:t>показателя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>
                          <a:effectLst/>
                        </a:rPr>
                        <a:t>(баллы)</a:t>
                      </a:r>
                      <a:endParaRPr lang="ru-RU" sz="2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Количество баллов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4166"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dirty="0">
                          <a:effectLst/>
                        </a:rPr>
                        <a:t>Средний балл ЕГЭ обучающихся, принятых по его результатам на обучение по программам бакалавриата и специалитета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28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000" dirty="0">
                          <a:effectLst/>
                        </a:rPr>
                        <a:t>(</a:t>
                      </a:r>
                      <a:r>
                        <a:rPr lang="ru-RU" sz="2000" b="1" dirty="0">
                          <a:effectLst/>
                        </a:rPr>
                        <a:t>не применяется </a:t>
                      </a:r>
                      <a:r>
                        <a:rPr lang="ru-RU" sz="2000" dirty="0">
                          <a:effectLst/>
                        </a:rPr>
                        <a:t>для основных профессиональных образовательных программ высшего образования – программ </a:t>
                      </a:r>
                      <a:r>
                        <a:rPr lang="ru-RU" sz="2000" b="1" dirty="0">
                          <a:effectLst/>
                        </a:rPr>
                        <a:t>магистратуры, ординатуры, ассистентуры-стажировки</a:t>
                      </a:r>
                      <a:r>
                        <a:rPr lang="ru-RU" sz="2000" dirty="0">
                          <a:effectLst/>
                        </a:rPr>
                        <a:t>)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66</a:t>
                      </a:r>
                      <a:r>
                        <a:rPr lang="ru-RU" sz="2800" dirty="0">
                          <a:effectLst/>
                        </a:rPr>
                        <a:t> и более</a:t>
                      </a:r>
                      <a:endParaRPr lang="ru-RU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10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41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dirty="0">
                          <a:effectLst/>
                        </a:rPr>
                        <a:t>от </a:t>
                      </a:r>
                      <a:r>
                        <a:rPr lang="ru-RU" sz="2800" b="1" dirty="0">
                          <a:effectLst/>
                        </a:rPr>
                        <a:t>60</a:t>
                      </a:r>
                      <a:r>
                        <a:rPr lang="ru-RU" sz="2800" dirty="0">
                          <a:effectLst/>
                        </a:rPr>
                        <a:t> до </a:t>
                      </a:r>
                      <a:r>
                        <a:rPr lang="ru-RU" sz="2800" b="1" dirty="0">
                          <a:effectLst/>
                        </a:rPr>
                        <a:t>65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5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854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dirty="0">
                          <a:effectLst/>
                        </a:rPr>
                        <a:t>менее </a:t>
                      </a:r>
                      <a:r>
                        <a:rPr lang="ru-RU" sz="2800" b="1" dirty="0">
                          <a:effectLst/>
                        </a:rPr>
                        <a:t>60</a:t>
                      </a:r>
                      <a:r>
                        <a:rPr lang="ru-RU" sz="2800" dirty="0">
                          <a:effectLst/>
                        </a:rPr>
                        <a:t> </a:t>
                      </a:r>
                      <a:endParaRPr lang="ru-RU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0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9819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9867B9E0-DBC7-0B12-3E6B-BEC48352D419}"/>
              </a:ext>
            </a:extLst>
          </p:cNvPr>
          <p:cNvSpPr/>
          <p:nvPr/>
        </p:nvSpPr>
        <p:spPr>
          <a:xfrm>
            <a:off x="1413336" y="643306"/>
            <a:ext cx="11856349" cy="1323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НОВАЯ МОДЕЛЬ ОЦЕНКИ КАЧЕСТВА ОБРАЗОВАНИЯ   </a:t>
            </a:r>
          </a:p>
        </p:txBody>
      </p:sp>
      <p:graphicFrame>
        <p:nvGraphicFramePr>
          <p:cNvPr id="3" name="Объект 3">
            <a:extLst>
              <a:ext uri="{FF2B5EF4-FFF2-40B4-BE49-F238E27FC236}">
                <a16:creationId xmlns:a16="http://schemas.microsoft.com/office/drawing/2014/main" id="{9064EA91-0EE5-51EB-E0C6-CDD3BBE70F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4005015"/>
              </p:ext>
            </p:extLst>
          </p:nvPr>
        </p:nvGraphicFramePr>
        <p:xfrm>
          <a:off x="2503714" y="3819818"/>
          <a:ext cx="9416143" cy="41920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5A298B87-4317-C6FB-211F-45ABE188400D}"/>
              </a:ext>
            </a:extLst>
          </p:cNvPr>
          <p:cNvSpPr/>
          <p:nvPr/>
        </p:nvSpPr>
        <p:spPr>
          <a:xfrm>
            <a:off x="2503714" y="7790925"/>
            <a:ext cx="9416142" cy="88499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Аккредитационные показатели</a:t>
            </a:r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0C85D687-8A1C-2964-6F36-0A853CB4F9FC}"/>
              </a:ext>
            </a:extLst>
          </p:cNvPr>
          <p:cNvSpPr/>
          <p:nvPr/>
        </p:nvSpPr>
        <p:spPr>
          <a:xfrm>
            <a:off x="2503713" y="2809296"/>
            <a:ext cx="9416143" cy="10105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Индикаторы риска  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C2DD3E2A-4AD0-4908-6043-5DC441671ADF}"/>
              </a:ext>
            </a:extLst>
          </p:cNvPr>
          <p:cNvSpPr/>
          <p:nvPr/>
        </p:nvSpPr>
        <p:spPr>
          <a:xfrm>
            <a:off x="2503713" y="8796994"/>
            <a:ext cx="9416142" cy="80420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Образовательные программы </a:t>
            </a:r>
          </a:p>
        </p:txBody>
      </p:sp>
    </p:spTree>
    <p:extLst>
      <p:ext uri="{BB962C8B-B14F-4D97-AF65-F5344CB8AC3E}">
        <p14:creationId xmlns:p14="http://schemas.microsoft.com/office/powerpoint/2010/main" val="29961192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060704" y="2265592"/>
            <a:ext cx="13021056" cy="64972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457200">
              <a:buFont typeface="+mj-lt"/>
              <a:buAutoNum type="arabicPeriod"/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Информация предоставляется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за</a:t>
            </a:r>
            <a:r>
              <a:rPr lang="ru-RU" sz="2400" b="1" dirty="0">
                <a:ea typeface="Calibri" panose="020F0502020204030204" pitchFamily="34" charset="0"/>
                <a:cs typeface="Times New Roman" panose="02020603050405020304" pitchFamily="18" charset="0"/>
              </a:rPr>
              <a:t> год, предшествующий году проведения аккредитационного мониторинга</a:t>
            </a:r>
          </a:p>
          <a:p>
            <a:pPr indent="-457200">
              <a:buFont typeface="+mj-lt"/>
              <a:buAutoNum type="arabicPeriod"/>
            </a:pPr>
            <a:endParaRPr lang="ru-RU" sz="24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457200">
              <a:buFont typeface="+mj-lt"/>
              <a:buAutoNum type="arabicPeriod"/>
            </a:pPr>
            <a:r>
              <a:rPr lang="ru-RU" sz="2400" dirty="0">
                <a:ea typeface="Calibri" panose="020F0502020204030204" pitchFamily="34" charset="0"/>
                <a:cs typeface="Times New Roman" panose="02020603050405020304" pitchFamily="18" charset="0"/>
              </a:rPr>
              <a:t>Приоритетная</a:t>
            </a:r>
            <a:r>
              <a:rPr lang="ru-RU" sz="2400" b="1" dirty="0">
                <a:ea typeface="Calibri" panose="020F0502020204030204" pitchFamily="34" charset="0"/>
                <a:cs typeface="Times New Roman" panose="02020603050405020304" pitchFamily="18" charset="0"/>
              </a:rPr>
              <a:t> форма обучения очная </a:t>
            </a:r>
            <a:r>
              <a:rPr lang="ru-RU" sz="2400" dirty="0">
                <a:ea typeface="Calibri" panose="020F0502020204030204" pitchFamily="34" charset="0"/>
                <a:cs typeface="Times New Roman" panose="02020603050405020304" pitchFamily="18" charset="0"/>
              </a:rPr>
              <a:t>(при ее отсутствии – очно-заочная, при отсутствии очно-заочной - заочная)</a:t>
            </a:r>
          </a:p>
          <a:p>
            <a:pPr indent="-457200">
              <a:buFont typeface="+mj-lt"/>
              <a:buAutoNum type="arabicPeriod"/>
            </a:pP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457200">
              <a:buFont typeface="+mj-lt"/>
              <a:buAutoNum type="arabicPeriod"/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Лица, зачисленные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без вступительных испытаний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приравниваются к абитуриентам, имеющим средний балл ЕГЭ, равный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100 баллам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indent="-457200">
              <a:buFont typeface="+mj-lt"/>
              <a:buAutoNum type="arabicPeriod"/>
            </a:pPr>
            <a:endParaRPr lang="ru-RU" sz="24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-457200">
              <a:buFont typeface="+mj-lt"/>
              <a:buAutoNum type="arabicPeriod"/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При расчете среднего балла ЕГЭ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не учитываются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баллы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   за индивидуальные достижения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 абитуриентов;</a:t>
            </a: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endParaRPr lang="ru-RU" sz="24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6. При расчете показателя не учитываются лица:</a:t>
            </a:r>
          </a:p>
          <a:p>
            <a:pPr indent="0" algn="just">
              <a:lnSpc>
                <a:spcPct val="107000"/>
              </a:lnSpc>
              <a:buNone/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       - зачисленные на обучение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в пределах установленной квоты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в том числе квоты приема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на целевое обучение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или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отдельной квоты</a:t>
            </a: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       - зачисленные на обучение по результатам вступительных испытаний,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проводимых организацией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высшего образования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самостоятельно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ЕТОДИКА РАСЧЕТА ПОКАЗАТЕЛЯ АП1 </a:t>
            </a:r>
          </a:p>
        </p:txBody>
      </p:sp>
    </p:spTree>
    <p:extLst>
      <p:ext uri="{BB962C8B-B14F-4D97-AF65-F5344CB8AC3E}">
        <p14:creationId xmlns:p14="http://schemas.microsoft.com/office/powerpoint/2010/main" val="22035316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B82E177-F227-B59F-8C13-8AB250D23361}"/>
                  </a:ext>
                </a:extLst>
              </p:cNvPr>
              <p:cNvSpPr txBox="1"/>
              <p:nvPr/>
            </p:nvSpPr>
            <p:spPr>
              <a:xfrm>
                <a:off x="1219200" y="3870192"/>
                <a:ext cx="12823371" cy="62108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14:m>
                  <m:oMath xmlns:m="http://schemas.openxmlformats.org/officeDocument/2006/math">
                    <m:nary>
                      <m:naryPr>
                        <m:chr m:val="∑"/>
                        <m:limLoc m:val="undOvr"/>
                        <m:ctrlPr>
                          <a:rPr lang="ru-RU" sz="4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naryPr>
                      <m:sub>
                        <m:r>
                          <a:rPr lang="ru-RU" sz="4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𝐢</m:t>
                        </m:r>
                        <m:r>
                          <a:rPr lang="ru-RU" sz="4400" b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  <m:r>
                          <a:rPr lang="ru-RU" sz="4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𝟏</m:t>
                        </m:r>
                      </m:sub>
                      <m:sup>
                        <m:r>
                          <a:rPr lang="en-US" sz="4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𝒏</m:t>
                        </m:r>
                      </m:sup>
                      <m:e>
                        <m:sSub>
                          <m:sSubPr>
                            <m:ctrlPr>
                              <a:rPr lang="ru-RU" sz="4400" b="1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ru-RU" sz="4400" b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ЕГЭ</m:t>
                            </m:r>
                          </m:e>
                          <m:sub>
                            <m:r>
                              <a:rPr lang="ru-RU" sz="4400" b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б</m:t>
                            </m:r>
                          </m:sub>
                        </m:sSub>
                      </m:e>
                    </m:nary>
                  </m:oMath>
                </a14:m>
                <a:r>
                  <a:rPr lang="ru-RU" sz="280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– суммарное значение баллов ЕГЭ обучающихся, зачисленных на обучение </a:t>
                </a:r>
                <a:r>
                  <a:rPr lang="ru-RU" sz="2800" b="1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о бюджету</a:t>
                </a:r>
                <a:endParaRPr lang="ru-RU" sz="2800" dirty="0"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14:m>
                  <m:oMath xmlns:m="http://schemas.openxmlformats.org/officeDocument/2006/math">
                    <m:nary>
                      <m:naryPr>
                        <m:chr m:val="∑"/>
                        <m:limLoc m:val="undOvr"/>
                        <m:ctrlPr>
                          <a:rPr lang="ru-RU" sz="4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naryPr>
                      <m:sub>
                        <m:r>
                          <a:rPr lang="ru-RU" sz="4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𝐢</m:t>
                        </m:r>
                        <m:r>
                          <a:rPr lang="ru-RU" sz="4400" b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  <m:r>
                          <a:rPr lang="ru-RU" sz="4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𝟏</m:t>
                        </m:r>
                      </m:sub>
                      <m:sup>
                        <m:r>
                          <a:rPr lang="en-US" sz="4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𝒌</m:t>
                        </m:r>
                      </m:sup>
                      <m:e>
                        <m:sSub>
                          <m:sSubPr>
                            <m:ctrlPr>
                              <a:rPr lang="ru-RU" sz="4400" b="1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ru-RU" sz="4400" b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ЕГЭ</m:t>
                            </m:r>
                          </m:e>
                          <m:sub>
                            <m:r>
                              <a:rPr lang="ru-RU" sz="4400" b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п</m:t>
                            </m:r>
                          </m:sub>
                        </m:sSub>
                      </m:e>
                    </m:nary>
                  </m:oMath>
                </a14:m>
                <a:r>
                  <a:rPr lang="ru-RU" sz="280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– суммарное значение баллов ЕГЭ обучающихся, зачисленных </a:t>
                </a:r>
                <a:r>
                  <a:rPr lang="ru-RU" sz="2800" b="1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о </a:t>
                </a:r>
                <a:r>
                  <a:rPr lang="ru-RU" sz="2800" b="1" dirty="0" err="1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внебюджету</a:t>
                </a:r>
                <a:endParaRPr lang="ru-RU" sz="2800" dirty="0"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US" sz="4800" b="1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n</a:t>
                </a:r>
                <a:r>
                  <a:rPr lang="ru-RU" sz="280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– численность обучающихся, зачисленных </a:t>
                </a:r>
                <a:r>
                  <a:rPr lang="ru-RU" sz="2800" b="1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о бюджету</a:t>
                </a:r>
              </a:p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ru-RU" sz="4800" b="1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k</a:t>
                </a:r>
                <a:r>
                  <a:rPr lang="ru-RU" sz="280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– численность обучающихся, зачисленных </a:t>
                </a:r>
                <a:r>
                  <a:rPr lang="ru-RU" sz="2800" b="1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о </a:t>
                </a:r>
                <a:r>
                  <a:rPr lang="ru-RU" sz="2800" b="1" dirty="0" err="1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внебюджету</a:t>
                </a:r>
                <a:endParaRPr lang="ru-RU" sz="2800" b="1" dirty="0"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ru-RU" sz="4400" b="1" dirty="0" err="1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N</a:t>
                </a:r>
                <a:r>
                  <a:rPr lang="ru-RU" sz="4400" b="1" baseline="-25000" dirty="0" err="1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редметов</a:t>
                </a:r>
                <a:r>
                  <a:rPr lang="ru-RU" sz="4400" b="1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sz="280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– количество учебных </a:t>
                </a:r>
                <a:r>
                  <a:rPr lang="ru-RU" sz="2800" b="1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редметов ЕГЭ</a:t>
                </a:r>
                <a:r>
                  <a:rPr lang="ru-RU" sz="280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, учитываемых при вступительных испытаниях</a:t>
                </a:r>
              </a:p>
              <a:p>
                <a:pPr lvl="0" indent="450215" algn="just" defTabSz="914400">
                  <a:lnSpc>
                    <a:spcPct val="107000"/>
                  </a:lnSpc>
                  <a:defRPr/>
                </a:pPr>
                <a:r>
                  <a:rPr lang="ru-RU" sz="280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олученное при расчете дробное значение показателя округляется до </a:t>
                </a:r>
                <a:r>
                  <a:rPr lang="ru-RU" sz="2800" b="1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целого числа</a:t>
                </a:r>
                <a:endParaRPr lang="ru-RU" sz="2800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xmlns="" id="{1B82E177-F227-B59F-8C13-8AB250D233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19200" y="3870192"/>
                <a:ext cx="12823371" cy="6210867"/>
              </a:xfrm>
              <a:prstGeom prst="rect">
                <a:avLst/>
              </a:prstGeom>
              <a:blipFill rotWithShape="0">
                <a:blip r:embed="rId2"/>
                <a:stretch>
                  <a:fillRect l="-951" r="-903" b="-117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ФОРМУЛА РАСЧЕТА ПОКАЗАТЕЛЯ АП 1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D2F5302-2D34-BECF-0DA6-5C6BD62AC8CE}"/>
                  </a:ext>
                </a:extLst>
              </p:cNvPr>
              <p:cNvSpPr txBox="1"/>
              <p:nvPr/>
            </p:nvSpPr>
            <p:spPr>
              <a:xfrm>
                <a:off x="3887235" y="1877959"/>
                <a:ext cx="6099906" cy="1465466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txBody>
              <a:bodyPr wrap="square">
                <a:spAutoFit/>
              </a:bodyPr>
              <a:lstStyle/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800" i="1" smtClean="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28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АП</m:t>
                          </m:r>
                        </m:e>
                        <m:sub>
                          <m:r>
                            <a:rPr lang="ru-RU" sz="28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1 </m:t>
                          </m:r>
                        </m:sub>
                      </m:sSub>
                      <m:r>
                        <a:rPr lang="ru-RU" sz="2800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ru-RU" sz="28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undOvr"/>
                              <m:ctrlPr>
                                <a:rPr lang="ru-RU" sz="28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sty m:val="p"/>
                                </m:rPr>
                                <a:rPr lang="ru-RU" sz="280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i</m:t>
                              </m:r>
                              <m:r>
                                <a:rPr lang="ru-RU" sz="280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en-US" sz="280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n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ru-RU" sz="28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ru-RU" sz="2800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ЕГЭ</m:t>
                                  </m:r>
                                </m:e>
                                <m:sub>
                                  <m:r>
                                    <a:rPr lang="ru-RU" sz="2800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б</m:t>
                                  </m:r>
                                </m:sub>
                              </m:sSub>
                              <m:r>
                                <a:rPr lang="ru-RU" sz="280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+ </m:t>
                              </m:r>
                              <m:nary>
                                <m:naryPr>
                                  <m:chr m:val="∑"/>
                                  <m:limLoc m:val="undOvr"/>
                                  <m:ctrlPr>
                                    <a:rPr lang="ru-RU" sz="28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sty m:val="p"/>
                                    </m:rPr>
                                    <a:rPr lang="ru-RU" sz="2800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i</m:t>
                                  </m:r>
                                  <m:r>
                                    <a:rPr lang="ru-RU" sz="2800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m:rPr>
                                      <m:sty m:val="p"/>
                                    </m:rPr>
                                    <a:rPr lang="en-US" sz="2800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k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ru-RU" sz="28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ru-RU" sz="2800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ЕГЭ</m:t>
                                      </m:r>
                                    </m:e>
                                    <m:sub>
                                      <m:r>
                                        <a:rPr lang="ru-RU" sz="2800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п</m:t>
                                      </m:r>
                                    </m:sub>
                                  </m:sSub>
                                  <m:r>
                                    <a:rPr lang="ru-RU" sz="2800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 </m:t>
                                  </m:r>
                                </m:e>
                              </m:nary>
                            </m:e>
                          </m:nary>
                        </m:num>
                        <m:den>
                          <m:d>
                            <m:dPr>
                              <m:ctrlPr>
                                <a:rPr lang="ru-RU" sz="28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n-US" sz="280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n</m:t>
                              </m:r>
                              <m:r>
                                <a:rPr lang="ru-RU" sz="280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+</m:t>
                              </m:r>
                              <m:r>
                                <m:rPr>
                                  <m:sty m:val="p"/>
                                </m:rPr>
                                <a:rPr lang="en-US" sz="280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k</m:t>
                              </m:r>
                            </m:e>
                          </m:d>
                          <m:r>
                            <a:rPr lang="ru-RU" sz="28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×</m:t>
                          </m:r>
                          <m:sSub>
                            <m:sSubPr>
                              <m:ctrlPr>
                                <a:rPr lang="ru-RU" sz="28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sz="280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N</m:t>
                              </m:r>
                            </m:e>
                            <m:sub>
                              <m:r>
                                <a:rPr lang="ru-RU" sz="280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предметов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ru-RU" sz="28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:endParaRPr lang="ru-RU" sz="18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4D2F5302-2D34-BECF-0DA6-5C6BD62AC8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87235" y="1877959"/>
                <a:ext cx="6099906" cy="1465466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  <a:ln w="38100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425586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219200" y="3009580"/>
            <a:ext cx="128233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endParaRPr lang="ru-RU" sz="2800" dirty="0"/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ЧЕТНЫЙ ПЕРИОД ПОКАЗАТЕЛЯ АП 1 </a:t>
            </a:r>
          </a:p>
        </p:txBody>
      </p:sp>
      <p:graphicFrame>
        <p:nvGraphicFramePr>
          <p:cNvPr id="9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3939233"/>
              </p:ext>
            </p:extLst>
          </p:nvPr>
        </p:nvGraphicFramePr>
        <p:xfrm>
          <a:off x="1748117" y="2162825"/>
          <a:ext cx="6669742" cy="25301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69742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2530198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предоставляется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 год </a:t>
                      </a:r>
                      <a:r>
                        <a:rPr lang="ru-RU" sz="28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иема, предшествующий году проведения </a:t>
                      </a:r>
                      <a:r>
                        <a:rPr lang="ru-RU" sz="2800" b="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тационного</a:t>
                      </a:r>
                      <a:r>
                        <a:rPr lang="ru-RU" sz="28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ониторинга</a:t>
                      </a:r>
                      <a:endParaRPr lang="ru-RU" sz="28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10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8146141"/>
              </p:ext>
            </p:extLst>
          </p:nvPr>
        </p:nvGraphicFramePr>
        <p:xfrm>
          <a:off x="10206318" y="2162825"/>
          <a:ext cx="3213846" cy="25301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13846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2530198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32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60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r>
                        <a:rPr lang="ru-RU" sz="2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2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11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1957182"/>
              </p:ext>
            </p:extLst>
          </p:nvPr>
        </p:nvGraphicFramePr>
        <p:xfrm>
          <a:off x="1748117" y="6185648"/>
          <a:ext cx="6669742" cy="33214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69742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3214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 расчете показателя используются данные по обучающимся на старшем для соответствующей образовательной программы высшего образования курсе обучения в году проведения аккредитационного мониторинга</a:t>
                      </a: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12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2932381"/>
              </p:ext>
            </p:extLst>
          </p:nvPr>
        </p:nvGraphicFramePr>
        <p:xfrm>
          <a:off x="10367681" y="6185648"/>
          <a:ext cx="3052483" cy="33214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52483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321424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baseline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baseline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хническая </a:t>
                      </a: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шибка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52766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219200" y="3009580"/>
            <a:ext cx="128233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endParaRPr lang="ru-RU" sz="2800" dirty="0"/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1.1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8312917"/>
              </p:ext>
            </p:extLst>
          </p:nvPr>
        </p:nvGraphicFramePr>
        <p:xfrm>
          <a:off x="1217394" y="2164977"/>
          <a:ext cx="12619989" cy="757643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356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75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567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1361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Наименование показателя мониторинга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>
                          <a:effectLst/>
                        </a:rPr>
                        <a:t>Значение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>
                          <a:effectLst/>
                        </a:rPr>
                        <a:t>показателя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>
                          <a:effectLst/>
                        </a:rPr>
                        <a:t>(баллы)</a:t>
                      </a:r>
                      <a:endParaRPr lang="ru-RU" sz="2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Количество баллов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4985">
                <a:tc row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Средний балл ЕГЭ</a:t>
                      </a:r>
                      <a:r>
                        <a:rPr lang="ru-RU" sz="2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  <a:r>
                        <a:rPr lang="ru-RU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и дополнительных вступительных испытаний обучающихся, принятых по их результатам на обучение по программам </a:t>
                      </a:r>
                      <a:r>
                        <a:rPr lang="ru-RU" sz="2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бакалавриата</a:t>
                      </a:r>
                      <a:r>
                        <a:rPr lang="ru-RU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 и </a:t>
                      </a:r>
                      <a:r>
                        <a:rPr lang="ru-RU" sz="2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специалитета</a:t>
                      </a:r>
                      <a:r>
                        <a:rPr lang="ru-RU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2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 (применяется только для тех образовательных программ высшего образования, </a:t>
                      </a:r>
                      <a:r>
                        <a:rPr lang="ru-RU" sz="20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правилами приема </a:t>
                      </a:r>
                      <a:r>
                        <a:rPr lang="ru-RU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на которые </a:t>
                      </a:r>
                      <a:r>
                        <a:rPr lang="ru-RU" sz="20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предусмотрены ДВИ</a:t>
                      </a:r>
                      <a:r>
                        <a:rPr lang="ru-RU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)</a:t>
                      </a:r>
                      <a:endParaRPr lang="ru-RU" sz="2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66</a:t>
                      </a:r>
                      <a:r>
                        <a:rPr lang="ru-RU" sz="2800" dirty="0">
                          <a:effectLst/>
                        </a:rPr>
                        <a:t> и более</a:t>
                      </a:r>
                      <a:endParaRPr lang="ru-RU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10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49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dirty="0">
                          <a:effectLst/>
                        </a:rPr>
                        <a:t>от </a:t>
                      </a:r>
                      <a:r>
                        <a:rPr lang="ru-RU" sz="2800" b="1" dirty="0">
                          <a:effectLst/>
                        </a:rPr>
                        <a:t>60</a:t>
                      </a:r>
                      <a:r>
                        <a:rPr lang="ru-RU" sz="2800" dirty="0">
                          <a:effectLst/>
                        </a:rPr>
                        <a:t> до </a:t>
                      </a:r>
                      <a:r>
                        <a:rPr lang="ru-RU" sz="2800" b="1" dirty="0">
                          <a:effectLst/>
                        </a:rPr>
                        <a:t>65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5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728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dirty="0">
                          <a:effectLst/>
                        </a:rPr>
                        <a:t>менее </a:t>
                      </a:r>
                      <a:r>
                        <a:rPr lang="ru-RU" sz="2800" b="1" dirty="0">
                          <a:effectLst/>
                        </a:rPr>
                        <a:t>60</a:t>
                      </a:r>
                      <a:r>
                        <a:rPr lang="ru-RU" sz="2800" dirty="0">
                          <a:effectLst/>
                        </a:rPr>
                        <a:t> </a:t>
                      </a:r>
                      <a:endParaRPr lang="ru-RU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effectLst/>
                        </a:rPr>
                        <a:t>0</a:t>
                      </a:r>
                      <a:endParaRPr lang="ru-RU" sz="2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04243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ФОРМУЛА РАСЧЕТА ПОКАЗАТЕЛЯ АП1.1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D2F5302-2D34-BECF-0DA6-5C6BD62AC8CE}"/>
                  </a:ext>
                </a:extLst>
              </p:cNvPr>
              <p:cNvSpPr txBox="1"/>
              <p:nvPr/>
            </p:nvSpPr>
            <p:spPr>
              <a:xfrm>
                <a:off x="2994878" y="1829691"/>
                <a:ext cx="7900416" cy="1136593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>
                <a:spAutoFit/>
              </a:bodyPr>
              <a:lstStyle/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ru-RU" sz="2400" dirty="0">
                          <a:ea typeface="Calibri" panose="020F0502020204030204" pitchFamily="34" charset="0"/>
                        </a:rPr>
                        <m:t>АП</m:t>
                      </m:r>
                      <m:r>
                        <m:rPr>
                          <m:nor/>
                        </m:rPr>
                        <a:rPr lang="ru-RU" sz="2400" baseline="-25000" dirty="0">
                          <a:ea typeface="Calibri" panose="020F0502020204030204" pitchFamily="34" charset="0"/>
                        </a:rPr>
                        <m:t>1.1</m:t>
                      </m:r>
                      <m:r>
                        <m:rPr>
                          <m:nor/>
                        </m:rPr>
                        <a:rPr lang="ru-RU" sz="2400" dirty="0">
                          <a:ea typeface="Calibri" panose="020F0502020204030204" pitchFamily="34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ru-RU" sz="2400" baseline="-25000" dirty="0"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 </m:t>
                      </m:r>
                      <m:f>
                        <m:fPr>
                          <m:ctrlPr>
                            <a:rPr lang="ru-RU" sz="24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ru-RU" sz="24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Средний балл ЕГЭ + Средний балл ДВИ</m:t>
                          </m:r>
                        </m:num>
                        <m:den>
                          <m:r>
                            <a:rPr lang="ru-RU" sz="24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sz="2800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:endParaRPr lang="ru-RU" sz="18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D2F5302-2D34-BECF-0DA6-5C6BD62AC8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4878" y="1829691"/>
                <a:ext cx="7900416" cy="113659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Прямоугольник 1"/>
              <p:cNvSpPr/>
              <p:nvPr/>
            </p:nvSpPr>
            <p:spPr>
              <a:xfrm>
                <a:off x="1413337" y="3165605"/>
                <a:ext cx="12517816" cy="66335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indent="288000" algn="just">
                  <a:lnSpc>
                    <a:spcPct val="107000"/>
                  </a:lnSpc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>
                          <a:latin typeface="Cambria Math" panose="02040503050406030204" pitchFamily="18" charset="0"/>
                        </a:rPr>
                        <m:t>Средний балл ЕГЭ=</m:t>
                      </m:r>
                      <m:f>
                        <m:f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undOvr"/>
                              <m:ctrlPr>
                                <a:rPr lang="ru-RU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sty m:val="p"/>
                                </m:rPr>
                                <a:rPr lang="ru-RU">
                                  <a:latin typeface="Cambria Math" panose="02040503050406030204" pitchFamily="18" charset="0"/>
                                </a:rPr>
                                <m:t>i</m:t>
                              </m:r>
                              <m:r>
                                <a:rPr lang="ru-RU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 panose="02040503050406030204" pitchFamily="18" charset="0"/>
                                </a:rPr>
                                <m:t>n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ru-RU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ru-RU">
                                      <a:latin typeface="Cambria Math" panose="02040503050406030204" pitchFamily="18" charset="0"/>
                                    </a:rPr>
                                    <m:t>ЕГЭ</m:t>
                                  </m:r>
                                </m:e>
                                <m:sub>
                                  <m:r>
                                    <a:rPr lang="ru-RU">
                                      <a:latin typeface="Cambria Math" panose="02040503050406030204" pitchFamily="18" charset="0"/>
                                    </a:rPr>
                                    <m:t>б</m:t>
                                  </m:r>
                                </m:sub>
                              </m:sSub>
                              <m:r>
                                <a:rPr lang="ru-RU">
                                  <a:latin typeface="Cambria Math" panose="02040503050406030204" pitchFamily="18" charset="0"/>
                                </a:rPr>
                                <m:t>+ </m:t>
                              </m:r>
                              <m:nary>
                                <m:naryPr>
                                  <m:chr m:val="∑"/>
                                  <m:limLoc m:val="undOvr"/>
                                  <m:ctrlPr>
                                    <a:rPr lang="ru-RU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sty m:val="p"/>
                                    </m:rPr>
                                    <a:rPr lang="ru-RU">
                                      <a:latin typeface="Cambria Math" panose="02040503050406030204" pitchFamily="18" charset="0"/>
                                    </a:rPr>
                                    <m:t>i</m:t>
                                  </m:r>
                                  <m:r>
                                    <a:rPr lang="ru-RU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</a:rPr>
                                    <m:t>k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ru-RU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ru-RU">
                                          <a:latin typeface="Cambria Math" panose="02040503050406030204" pitchFamily="18" charset="0"/>
                                        </a:rPr>
                                        <m:t>ЕГЭ</m:t>
                                      </m:r>
                                    </m:e>
                                    <m:sub>
                                      <m:r>
                                        <a:rPr lang="ru-RU">
                                          <a:latin typeface="Cambria Math" panose="02040503050406030204" pitchFamily="18" charset="0"/>
                                        </a:rPr>
                                        <m:t>п</m:t>
                                      </m:r>
                                    </m:sub>
                                  </m:sSub>
                                  <m:r>
                                    <a:rPr lang="ru-RU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e>
                              </m:nary>
                            </m:e>
                          </m:nary>
                        </m:num>
                        <m:den>
                          <m:d>
                            <m:dPr>
                              <m:ctrlPr>
                                <a:rPr lang="ru-RU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 panose="02040503050406030204" pitchFamily="18" charset="0"/>
                                </a:rPr>
                                <m:t>n</m:t>
                              </m:r>
                              <m:r>
                                <a:rPr lang="ru-RU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 panose="02040503050406030204" pitchFamily="18" charset="0"/>
                                </a:rPr>
                                <m:t>k</m:t>
                              </m:r>
                            </m:e>
                          </m:d>
                          <m:r>
                            <a:rPr lang="ru-RU">
                              <a:latin typeface="Cambria Math" panose="02040503050406030204" pitchFamily="18" charset="0"/>
                            </a:rPr>
                            <m:t>×</m:t>
                          </m:r>
                          <m:sSub>
                            <m:sSubPr>
                              <m:ctrlPr>
                                <a:rPr lang="ru-R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 panose="02040503050406030204" pitchFamily="18" charset="0"/>
                                </a:rPr>
                                <m:t>N</m:t>
                              </m:r>
                            </m:e>
                            <m:sub>
                              <m:r>
                                <a:rPr lang="ru-RU">
                                  <a:latin typeface="Cambria Math" panose="02040503050406030204" pitchFamily="18" charset="0"/>
                                </a:rPr>
                                <m:t>предметов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ru-RU" sz="2800" dirty="0"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indent="288000" algn="just" defTabSz="914400">
                  <a:lnSpc>
                    <a:spcPct val="107000"/>
                  </a:lnSpc>
                  <a:defRPr/>
                </a:pPr>
                <a:endParaRPr lang="ru-RU" sz="2800" b="1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indent="288000" algn="just" defTabSz="914400">
                  <a:lnSpc>
                    <a:spcPct val="107000"/>
                  </a:lnSpc>
                  <a:defRPr/>
                </a:pPr>
                <a:endParaRPr lang="ru-RU" sz="2800" b="1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lvl="0" indent="288000" algn="just" defTabSz="914400">
                  <a:lnSpc>
                    <a:spcPct val="107000"/>
                  </a:lnSpc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>
                          <a:latin typeface="Cambria Math" panose="02040503050406030204" pitchFamily="18" charset="0"/>
                        </a:rPr>
                        <m:t>Средний балл ДВИ=</m:t>
                      </m:r>
                      <m:f>
                        <m:f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undOvr"/>
                              <m:ctrlPr>
                                <a:rPr lang="ru-RU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sty m:val="p"/>
                                </m:rPr>
                                <a:rPr lang="ru-RU">
                                  <a:latin typeface="Cambria Math" panose="02040503050406030204" pitchFamily="18" charset="0"/>
                                </a:rPr>
                                <m:t>i</m:t>
                              </m:r>
                              <m:r>
                                <a:rPr lang="ru-RU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 panose="02040503050406030204" pitchFamily="18" charset="0"/>
                                </a:rPr>
                                <m:t>n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ru-RU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ru-RU">
                                      <a:latin typeface="Cambria Math" panose="02040503050406030204" pitchFamily="18" charset="0"/>
                                    </a:rPr>
                                    <m:t>ДВИ</m:t>
                                  </m:r>
                                </m:e>
                                <m:sub>
                                  <m:r>
                                    <a:rPr lang="ru-RU">
                                      <a:latin typeface="Cambria Math" panose="02040503050406030204" pitchFamily="18" charset="0"/>
                                    </a:rPr>
                                    <m:t>б</m:t>
                                  </m:r>
                                </m:sub>
                              </m:sSub>
                              <m:r>
                                <a:rPr lang="ru-RU">
                                  <a:latin typeface="Cambria Math" panose="02040503050406030204" pitchFamily="18" charset="0"/>
                                </a:rPr>
                                <m:t>+ </m:t>
                              </m:r>
                              <m:nary>
                                <m:naryPr>
                                  <m:chr m:val="∑"/>
                                  <m:limLoc m:val="undOvr"/>
                                  <m:ctrlPr>
                                    <a:rPr lang="ru-RU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sty m:val="p"/>
                                    </m:rPr>
                                    <a:rPr lang="ru-RU">
                                      <a:latin typeface="Cambria Math" panose="02040503050406030204" pitchFamily="18" charset="0"/>
                                    </a:rPr>
                                    <m:t>i</m:t>
                                  </m:r>
                                  <m:r>
                                    <a:rPr lang="ru-RU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</a:rPr>
                                    <m:t>k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ru-RU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ru-RU">
                                          <a:latin typeface="Cambria Math" panose="02040503050406030204" pitchFamily="18" charset="0"/>
                                        </a:rPr>
                                        <m:t>ДВИ</m:t>
                                      </m:r>
                                    </m:e>
                                    <m:sub>
                                      <m:r>
                                        <a:rPr lang="ru-RU">
                                          <a:latin typeface="Cambria Math" panose="02040503050406030204" pitchFamily="18" charset="0"/>
                                        </a:rPr>
                                        <m:t>п</m:t>
                                      </m:r>
                                    </m:sub>
                                  </m:sSub>
                                  <m:r>
                                    <a:rPr lang="ru-RU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e>
                              </m:nary>
                            </m:e>
                          </m:nary>
                        </m:num>
                        <m:den>
                          <m:d>
                            <m:dPr>
                              <m:ctrlPr>
                                <a:rPr lang="ru-RU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 panose="02040503050406030204" pitchFamily="18" charset="0"/>
                                </a:rPr>
                                <m:t>n</m:t>
                              </m:r>
                              <m:r>
                                <a:rPr lang="ru-RU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 panose="02040503050406030204" pitchFamily="18" charset="0"/>
                                </a:rPr>
                                <m:t>k</m:t>
                              </m:r>
                            </m:e>
                          </m:d>
                          <m:r>
                            <a:rPr lang="ru-RU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m:rPr>
                              <m:sty m:val="p"/>
                            </m:rPr>
                            <a:rPr lang="en-US">
                              <a:latin typeface="Cambria Math" panose="02040503050406030204" pitchFamily="18" charset="0"/>
                            </a:rPr>
                            <m:t>N</m:t>
                          </m:r>
                        </m:den>
                      </m:f>
                    </m:oMath>
                  </m:oMathPara>
                </a14:m>
                <a:endParaRPr lang="ru-RU" sz="4000" dirty="0"/>
              </a:p>
              <a:p>
                <a:pPr lvl="0" indent="288000" algn="just" defTabSz="914400">
                  <a:lnSpc>
                    <a:spcPct val="107000"/>
                  </a:lnSpc>
                  <a:defRPr/>
                </a:pPr>
                <a:endParaRPr lang="ru-RU" sz="2800" dirty="0"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0" indent="288000" algn="just" defTabSz="914400">
                  <a:lnSpc>
                    <a:spcPct val="107000"/>
                  </a:lnSpc>
                  <a:defRPr/>
                </a:pPr>
                <a:endParaRPr lang="ru-RU" sz="2800" dirty="0"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0" indent="288000" algn="just" defTabSz="914400">
                  <a:lnSpc>
                    <a:spcPct val="107000"/>
                  </a:lnSpc>
                  <a:defRPr/>
                </a:pPr>
                <a:endParaRPr lang="ru-RU" sz="2800" dirty="0"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0" indent="288000" algn="just" defTabSz="914400">
                  <a:lnSpc>
                    <a:spcPct val="107000"/>
                  </a:lnSpc>
                  <a:defRPr/>
                </a:pPr>
                <a:r>
                  <a:rPr lang="ru-RU" sz="280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олученное при расчете дробное значение А</a:t>
                </a:r>
                <a:r>
                  <a:rPr lang="ru-RU" sz="2800" dirty="0"/>
                  <a:t>П1.1</a:t>
                </a:r>
                <a:r>
                  <a:rPr lang="ru-RU" sz="280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округляется до </a:t>
                </a:r>
                <a:r>
                  <a:rPr lang="ru-RU" sz="2800" b="1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целого числа</a:t>
                </a:r>
              </a:p>
              <a:p>
                <a:pPr lvl="0" indent="288000" algn="just" defTabSz="914400">
                  <a:lnSpc>
                    <a:spcPct val="107000"/>
                  </a:lnSpc>
                  <a:defRPr/>
                </a:pPr>
                <a:endParaRPr lang="ru-RU" sz="2800" dirty="0">
                  <a:ea typeface="Times New Roman" panose="02020603050405020304" pitchFamily="18" charset="0"/>
                </a:endParaRPr>
              </a:p>
              <a:p>
                <a:pPr lvl="0" indent="288000" algn="just" defTabSz="914400">
                  <a:lnSpc>
                    <a:spcPct val="107000"/>
                  </a:lnSpc>
                  <a:defRPr/>
                </a:pPr>
                <a:r>
                  <a:rPr lang="ru-RU" sz="2800" dirty="0">
                    <a:ea typeface="Times New Roman" panose="02020603050405020304" pitchFamily="18" charset="0"/>
                  </a:rPr>
                  <a:t>Учитываются </a:t>
                </a:r>
                <a:r>
                  <a:rPr lang="ru-RU" sz="2800" b="1" dirty="0">
                    <a:ea typeface="Times New Roman" panose="02020603050405020304" pitchFamily="18" charset="0"/>
                  </a:rPr>
                  <a:t>результаты </a:t>
                </a:r>
                <a:r>
                  <a:rPr lang="ru-RU" sz="2800" b="1" dirty="0">
                    <a:ea typeface="Calibri" panose="020F0502020204030204" pitchFamily="34" charset="0"/>
                  </a:rPr>
                  <a:t>ДВИ</a:t>
                </a:r>
                <a:r>
                  <a:rPr lang="ru-RU" sz="2800" dirty="0">
                    <a:ea typeface="Calibri" panose="020F0502020204030204" pitchFamily="34" charset="0"/>
                  </a:rPr>
                  <a:t>, переведенные организацией высшего образования </a:t>
                </a:r>
                <a:r>
                  <a:rPr lang="ru-RU" sz="2800" b="1" dirty="0">
                    <a:ea typeface="Calibri" panose="020F0502020204030204" pitchFamily="34" charset="0"/>
                  </a:rPr>
                  <a:t>в 100-балльную шкалу оценивания</a:t>
                </a:r>
                <a:endParaRPr lang="ru-RU" sz="2800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3337" y="3165605"/>
                <a:ext cx="12517816" cy="6633547"/>
              </a:xfrm>
              <a:prstGeom prst="rect">
                <a:avLst/>
              </a:prstGeom>
              <a:blipFill rotWithShape="0">
                <a:blip r:embed="rId3"/>
                <a:stretch>
                  <a:fillRect l="-1023" r="-974" b="-110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739297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ЧЕТНЫЙ ПЕРИОД ПОКАЗАТЕЛЯ АП 1.1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5726145"/>
              </p:ext>
            </p:extLst>
          </p:nvPr>
        </p:nvGraphicFramePr>
        <p:xfrm>
          <a:off x="1413337" y="4168588"/>
          <a:ext cx="6722134" cy="38550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22134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855004">
                <a:tc>
                  <a:txBody>
                    <a:bodyPr/>
                    <a:lstStyle/>
                    <a:p>
                      <a:pPr indent="450215" algn="just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indent="450215" algn="ctr">
                        <a:spcAft>
                          <a:spcPts val="0"/>
                        </a:spcAft>
                      </a:pPr>
                      <a:endParaRPr lang="ru-RU" sz="28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Информация предоставляется </a:t>
                      </a:r>
                    </a:p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за год </a:t>
                      </a: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приема, предшествующий </a:t>
                      </a:r>
                    </a:p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году проведения </a:t>
                      </a:r>
                      <a:r>
                        <a:rPr lang="ru-RU" sz="2800" dirty="0" err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аккредитационного</a:t>
                      </a: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 мониторинга</a:t>
                      </a:r>
                      <a:endParaRPr lang="ru-RU" sz="3200" dirty="0">
                        <a:effectLst/>
                        <a:latin typeface="+mj-lt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0733288"/>
              </p:ext>
            </p:extLst>
          </p:nvPr>
        </p:nvGraphicFramePr>
        <p:xfrm>
          <a:off x="8713693" y="4168588"/>
          <a:ext cx="5109883" cy="38550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09883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855004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4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6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32697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КНОПКА «ЗАПОЛНИТЬ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3337" y="1909483"/>
            <a:ext cx="12720917" cy="81677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219474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2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7457631"/>
              </p:ext>
            </p:extLst>
          </p:nvPr>
        </p:nvGraphicFramePr>
        <p:xfrm>
          <a:off x="1950331" y="2522254"/>
          <a:ext cx="12033893" cy="68368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99793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  <a:gridCol w="2868852">
                  <a:extLst>
                    <a:ext uri="{9D8B030D-6E8A-4147-A177-3AD203B41FA5}">
                      <a16:colId xmlns:a16="http://schemas.microsoft.com/office/drawing/2014/main" val="1699904407"/>
                    </a:ext>
                  </a:extLst>
                </a:gridCol>
                <a:gridCol w="2365248">
                  <a:extLst>
                    <a:ext uri="{9D8B030D-6E8A-4147-A177-3AD203B41FA5}">
                      <a16:colId xmlns:a16="http://schemas.microsoft.com/office/drawing/2014/main" val="3182398384"/>
                    </a:ext>
                  </a:extLst>
                </a:gridCol>
              </a:tblGrid>
              <a:tr h="200140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Наименование показателя мониторинга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Значение показател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Количество баллов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  <a:tr h="594053"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Наличие электронной информационно-образовательной среды </a:t>
                      </a:r>
                      <a:endParaRPr lang="ru-RU" sz="2800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имеетс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988291"/>
                  </a:ext>
                </a:extLst>
              </a:tr>
              <a:tr h="42414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не имеетс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74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95470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967547" y="2658118"/>
            <a:ext cx="13505330" cy="6480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88000" algn="just">
              <a:lnSpc>
                <a:spcPct val="107000"/>
              </a:lnSpc>
              <a:spcAft>
                <a:spcPts val="0"/>
              </a:spcAft>
            </a:pP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Не менее четырех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из следующих компонентов:</a:t>
            </a: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endParaRPr lang="ru-RU" sz="28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1) доступ к сети </a:t>
            </a:r>
            <a:r>
              <a:rPr lang="ru-RU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«Интернет» </a:t>
            </a: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(далее – сеть «Интернет»);</a:t>
            </a: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2) локальный нормативный акт об </a:t>
            </a:r>
            <a:r>
              <a:rPr lang="ru-RU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ЭИОС</a:t>
            </a: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3) наличие доступа к </a:t>
            </a:r>
            <a:r>
              <a:rPr lang="ru-RU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электронной библиотечной системе</a:t>
            </a: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4) наличие доступа к </a:t>
            </a:r>
            <a:r>
              <a:rPr lang="ru-RU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электронным образовательным ресурсам и (или) профессиональным базам данных</a:t>
            </a: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 (подборкам информационных ресурсов по тематикам) в соответствии с содержанием реализуемой ОП ВО;</a:t>
            </a: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5) наличие возможности взаимодействия педагогических работников с обучающимися (</a:t>
            </a:r>
            <a:r>
              <a:rPr lang="ru-RU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личные кабинеты обучающихся и преподавателей</a:t>
            </a: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) в ЭИОС;</a:t>
            </a: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6) доступ к </a:t>
            </a:r>
            <a:r>
              <a:rPr lang="ru-RU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электронному расписанию</a:t>
            </a: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7) наличие возможности формирования </a:t>
            </a:r>
            <a:r>
              <a:rPr lang="ru-RU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электронного портфолио </a:t>
            </a: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обучающихся, в том числе сохранения их работ и оценок за эти работы;</a:t>
            </a: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8) наличие доступа к </a:t>
            </a:r>
            <a:r>
              <a:rPr lang="ru-RU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учебным планам, рабочим программам дисциплин </a:t>
            </a: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(модулей), </a:t>
            </a:r>
            <a:r>
              <a:rPr lang="ru-RU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программам практик</a:t>
            </a:r>
            <a:r>
              <a:rPr lang="ru-RU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, электронным учебным изданиям и электронным образовательным ресурсам, указанным в рабочих программах дисциплин (модулей), программах практик по образовательной программе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endParaRPr lang="ru-RU" sz="18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88000" algn="just">
              <a:lnSpc>
                <a:spcPct val="107000"/>
              </a:lnSpc>
              <a:spcAft>
                <a:spcPts val="0"/>
              </a:spcAft>
            </a:pPr>
            <a:r>
              <a:rPr lang="ru-RU" sz="2800" b="1" dirty="0">
                <a:solidFill>
                  <a:srgbClr val="C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Подтверждается ссылками на соответствующую информацию 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ЕТОДИКА РАСЧЕТА ПОКАЗАТЕЛЯ АП2 </a:t>
            </a:r>
          </a:p>
        </p:txBody>
      </p:sp>
    </p:spTree>
    <p:extLst>
      <p:ext uri="{BB962C8B-B14F-4D97-AF65-F5344CB8AC3E}">
        <p14:creationId xmlns:p14="http://schemas.microsoft.com/office/powerpoint/2010/main" val="14632924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>
                <a:solidFill>
                  <a:srgbClr val="423D67"/>
                </a:solidFill>
              </a:rPr>
              <a:t>ОТЧЕТНЫЙ ПЕРИОД ПОКАЗАТЕЛЯ АП2 </a:t>
            </a:r>
            <a:endParaRPr lang="ru-RU" sz="4000" b="1" dirty="0">
              <a:solidFill>
                <a:srgbClr val="423D67"/>
              </a:solidFill>
            </a:endParaRP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1480340"/>
              </p:ext>
            </p:extLst>
          </p:nvPr>
        </p:nvGraphicFramePr>
        <p:xfrm>
          <a:off x="1413337" y="3926541"/>
          <a:ext cx="6544802" cy="35903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44802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590365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яется актуальная в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иод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проведения </a:t>
                      </a:r>
                      <a:r>
                        <a:rPr lang="ru-RU" sz="280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тационного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ониторинга информация</a:t>
                      </a: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0371135"/>
              </p:ext>
            </p:extLst>
          </p:nvPr>
        </p:nvGraphicFramePr>
        <p:xfrm>
          <a:off x="9466729" y="3926541"/>
          <a:ext cx="4840404" cy="35903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40404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59036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4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60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0402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5CDC6872-10F0-0587-71A5-C81DF505228D}"/>
              </a:ext>
            </a:extLst>
          </p:cNvPr>
          <p:cNvSpPr/>
          <p:nvPr/>
        </p:nvSpPr>
        <p:spPr>
          <a:xfrm>
            <a:off x="1413336" y="643306"/>
            <a:ext cx="12640121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НОРМАТИВНО – ПРАВОВОЕ РЕГУЛИРОВАНИЕ </a:t>
            </a:r>
          </a:p>
        </p:txBody>
      </p:sp>
      <p:pic>
        <p:nvPicPr>
          <p:cNvPr id="5" name="Объект 16">
            <a:extLst>
              <a:ext uri="{FF2B5EF4-FFF2-40B4-BE49-F238E27FC236}">
                <a16:creationId xmlns:a16="http://schemas.microsoft.com/office/drawing/2014/main" id="{238C0EF3-FC17-DB13-8A1B-9F693F3DA0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249" y="2394672"/>
            <a:ext cx="5378665" cy="77580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8F9D2A5-8CF8-666F-C320-7E8D003A3593}"/>
              </a:ext>
            </a:extLst>
          </p:cNvPr>
          <p:cNvSpPr txBox="1"/>
          <p:nvPr/>
        </p:nvSpPr>
        <p:spPr>
          <a:xfrm>
            <a:off x="7701387" y="2783242"/>
            <a:ext cx="5253298" cy="29927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472" b="1" dirty="0">
                <a:solidFill>
                  <a:srgbClr val="C00000"/>
                </a:solidFill>
              </a:rPr>
              <a:t>С 1 сентября 2023 года</a:t>
            </a:r>
          </a:p>
          <a:p>
            <a:endParaRPr lang="ru-RU" sz="3472" b="1" dirty="0"/>
          </a:p>
          <a:p>
            <a:r>
              <a:rPr lang="ru-RU" sz="2976" b="1" dirty="0"/>
              <a:t>1 раз в 3 года </a:t>
            </a:r>
          </a:p>
          <a:p>
            <a:endParaRPr lang="ru-RU" sz="2976" dirty="0"/>
          </a:p>
          <a:p>
            <a:r>
              <a:rPr lang="ru-RU" sz="2976" b="1" dirty="0"/>
              <a:t>Все образовательные </a:t>
            </a:r>
          </a:p>
          <a:p>
            <a:r>
              <a:rPr lang="ru-RU" sz="2976" b="1" dirty="0"/>
              <a:t>организации 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DE76552-EBEB-ECB2-5548-FD37FDF2E65F}"/>
              </a:ext>
            </a:extLst>
          </p:cNvPr>
          <p:cNvCxnSpPr>
            <a:cxnSpLocks/>
          </p:cNvCxnSpPr>
          <p:nvPr/>
        </p:nvCxnSpPr>
        <p:spPr>
          <a:xfrm flipH="1">
            <a:off x="7853788" y="6375253"/>
            <a:ext cx="527438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E834BC8-E6EB-0B32-1471-29DB093815FB}"/>
              </a:ext>
            </a:extLst>
          </p:cNvPr>
          <p:cNvSpPr txBox="1"/>
          <p:nvPr/>
        </p:nvSpPr>
        <p:spPr>
          <a:xfrm>
            <a:off x="7559675" y="7192948"/>
            <a:ext cx="780505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25230" indent="-425230">
              <a:buAutoNum type="arabicPeriod"/>
            </a:pPr>
            <a:r>
              <a:rPr lang="ru-RU" sz="2800" b="1" dirty="0"/>
              <a:t>Выявление проблемных зон </a:t>
            </a:r>
          </a:p>
          <a:p>
            <a:pPr marL="425230" indent="-425230">
              <a:buAutoNum type="arabicPeriod"/>
            </a:pPr>
            <a:r>
              <a:rPr lang="ru-RU" sz="2800" b="1" dirty="0"/>
              <a:t>Формирование индикаторов риска </a:t>
            </a:r>
          </a:p>
          <a:p>
            <a:pPr marL="425230" indent="-425230">
              <a:buAutoNum type="arabicPeriod"/>
            </a:pPr>
            <a:r>
              <a:rPr lang="ru-RU" sz="2800" b="1" dirty="0"/>
              <a:t>Корректировка программ развития </a:t>
            </a:r>
          </a:p>
        </p:txBody>
      </p:sp>
    </p:spTree>
    <p:extLst>
      <p:ext uri="{BB962C8B-B14F-4D97-AF65-F5344CB8AC3E}">
        <p14:creationId xmlns:p14="http://schemas.microsoft.com/office/powerpoint/2010/main" val="6179522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76F2D2C-11E7-D119-5485-D667CD1E38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8771" y="1892140"/>
            <a:ext cx="9459686" cy="85622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A25A5FB1-4898-95AC-EA20-E2E21E521E5E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2</a:t>
            </a:r>
          </a:p>
        </p:txBody>
      </p:sp>
    </p:spTree>
    <p:extLst>
      <p:ext uri="{BB962C8B-B14F-4D97-AF65-F5344CB8AC3E}">
        <p14:creationId xmlns:p14="http://schemas.microsoft.com/office/powerpoint/2010/main" val="4792640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3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8962563"/>
              </p:ext>
            </p:extLst>
          </p:nvPr>
        </p:nvGraphicFramePr>
        <p:xfrm>
          <a:off x="1197429" y="1936376"/>
          <a:ext cx="12856028" cy="79696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555665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  <a:gridCol w="3008255">
                  <a:extLst>
                    <a:ext uri="{9D8B030D-6E8A-4147-A177-3AD203B41FA5}">
                      <a16:colId xmlns:a16="http://schemas.microsoft.com/office/drawing/2014/main" val="1699904407"/>
                    </a:ext>
                  </a:extLst>
                </a:gridCol>
                <a:gridCol w="2292108">
                  <a:extLst>
                    <a:ext uri="{9D8B030D-6E8A-4147-A177-3AD203B41FA5}">
                      <a16:colId xmlns:a16="http://schemas.microsoft.com/office/drawing/2014/main" val="3182398384"/>
                    </a:ext>
                  </a:extLst>
                </a:gridCol>
              </a:tblGrid>
              <a:tr h="196263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Наименование показателя мониторинга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Значение показател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Количество баллов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  <a:tr h="686650">
                <a:tc row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Доля обучающихся, успешно завершивших обучение по образовательной программе высшего образования, от общей численности обучающихся, поступивших на</a:t>
                      </a:r>
                      <a:r>
                        <a:rPr lang="ru-RU" sz="2800" baseline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бучение по соответствующей образовательной программе высшего образования</a:t>
                      </a:r>
                      <a:endParaRPr lang="ru-RU" sz="2800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0%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и более</a:t>
                      </a:r>
                      <a:endParaRPr lang="ru-RU" sz="2800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988291"/>
                  </a:ext>
                </a:extLst>
              </a:tr>
              <a:tr h="13204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т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%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до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9%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74465"/>
                  </a:ext>
                </a:extLst>
              </a:tr>
              <a:tr h="39998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менее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%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54781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33253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219200" y="2095180"/>
            <a:ext cx="12823371" cy="71113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endParaRPr lang="ru-RU" sz="28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r>
              <a:rPr lang="ru-RU" sz="2800" dirty="0">
                <a:ea typeface="Calibri" panose="020F0502020204030204" pitchFamily="34" charset="0"/>
                <a:cs typeface="Times New Roman" panose="02020603050405020304" pitchFamily="18" charset="0"/>
              </a:rPr>
              <a:t>Приоритетная</a:t>
            </a:r>
            <a:r>
              <a:rPr lang="ru-RU" sz="2800" b="1" dirty="0">
                <a:ea typeface="Calibri" panose="020F0502020204030204" pitchFamily="34" charset="0"/>
                <a:cs typeface="Times New Roman" panose="02020603050405020304" pitchFamily="18" charset="0"/>
              </a:rPr>
              <a:t> форма обучения очная </a:t>
            </a:r>
            <a:r>
              <a:rPr lang="ru-RU" sz="2800" dirty="0">
                <a:ea typeface="Calibri" panose="020F0502020204030204" pitchFamily="34" charset="0"/>
                <a:cs typeface="Times New Roman" panose="02020603050405020304" pitchFamily="18" charset="0"/>
              </a:rPr>
              <a:t>(при ее отсутствии – очно-заочная, при отсутствии очно-заочной - заочная)</a:t>
            </a:r>
          </a:p>
          <a:p>
            <a:pPr>
              <a:lnSpc>
                <a:spcPct val="130000"/>
              </a:lnSpc>
            </a:pPr>
            <a:endParaRPr lang="ru-RU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3.       Учитываются:</a:t>
            </a:r>
          </a:p>
          <a:p>
            <a:pPr>
              <a:lnSpc>
                <a:spcPct val="130000"/>
              </a:lnSpc>
            </a:pP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         -  успешно завершившие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обучение по образовательной программе высшего образования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с учетом вышедших из академического отпуска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в период нормативного срока освоения образовательной программы; </a:t>
            </a:r>
          </a:p>
          <a:p>
            <a:pPr indent="450215" algn="just">
              <a:lnSpc>
                <a:spcPct val="120000"/>
              </a:lnSpc>
              <a:spcAft>
                <a:spcPts val="0"/>
              </a:spcAft>
            </a:pP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- общая численность обучающихся,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зачисленных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 на обучение по образовательной программе высшего образования,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за исключением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обучающихся,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ушедших в академический отпуск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а также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переведенных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 на другую образовательную программу</a:t>
            </a:r>
            <a:r>
              <a:rPr lang="ru-RU" sz="2800" strike="sngStrike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, а также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в период нормативного срока освоения ОП ВО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ЕТОДИКА РАСЧЕТА ПОКАЗАТЕЛЯ АП3 </a:t>
            </a:r>
          </a:p>
        </p:txBody>
      </p:sp>
    </p:spTree>
    <p:extLst>
      <p:ext uri="{BB962C8B-B14F-4D97-AF65-F5344CB8AC3E}">
        <p14:creationId xmlns:p14="http://schemas.microsoft.com/office/powerpoint/2010/main" val="36389780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219200" y="3009580"/>
            <a:ext cx="12823371" cy="67815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0215" algn="just">
              <a:lnSpc>
                <a:spcPct val="107000"/>
              </a:lnSpc>
              <a:spcAft>
                <a:spcPts val="0"/>
              </a:spcAft>
            </a:pP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– численность обучающихся,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успешно завершивших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обучение по образовательной программе ВО</a:t>
            </a: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ru-RU" sz="2400" b="1" baseline="-25000" dirty="0"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 – общая численность обучающихся,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поступивших на обучение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по образовательной программе ВО</a:t>
            </a: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07000"/>
              </a:lnSpc>
              <a:spcAft>
                <a:spcPts val="0"/>
              </a:spcAft>
              <a:tabLst>
                <a:tab pos="231775" algn="l"/>
              </a:tabLst>
            </a:pP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ru-RU" sz="2400" b="1" baseline="-25000" dirty="0"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 – численность обучающихся,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ушедших в академический отпуск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обучающихся,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переведенных на другую образовательную программу</a:t>
            </a:r>
            <a:r>
              <a:rPr lang="ru-RU" sz="2400" strike="sngStrike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, а также обучающихся, зачисленных на образовательную программу высшего образования внутри организации высшего образования и (или) из других организаций высшего образования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 в период нормативного срока освоения ОП ВО</a:t>
            </a:r>
          </a:p>
          <a:p>
            <a:pPr indent="450215" algn="just">
              <a:lnSpc>
                <a:spcPct val="107000"/>
              </a:lnSpc>
              <a:spcAft>
                <a:spcPts val="0"/>
              </a:spcAft>
              <a:tabLst>
                <a:tab pos="231775" algn="l"/>
              </a:tabLst>
            </a:pP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ru-RU" sz="2400" b="1" baseline="-25000" dirty="0"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– общая численность обучающихся,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вышедших из академического отпуска, </a:t>
            </a:r>
            <a:r>
              <a:rPr lang="ru-RU" sz="2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а также обучающихся, </a:t>
            </a:r>
            <a:r>
              <a:rPr lang="ru-RU" sz="2400" b="1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зачисленных </a:t>
            </a:r>
            <a:r>
              <a:rPr lang="ru-RU" sz="2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на образовательную программу высшего образования </a:t>
            </a:r>
            <a:r>
              <a:rPr lang="ru-RU" sz="2400" b="1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внутри организации </a:t>
            </a:r>
            <a:r>
              <a:rPr lang="ru-RU" sz="2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высшего образования и (или) </a:t>
            </a:r>
            <a:r>
              <a:rPr lang="ru-RU" sz="2400" b="1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из других организаций </a:t>
            </a:r>
            <a:r>
              <a:rPr lang="ru-RU" sz="2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высшего образования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в период нормативного срока освоения образовательной программы высшего образования</a:t>
            </a: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ФОРМУЛА РАСЧЕТА ПОКАЗАТЕЛЯ АП3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F541149-C03F-ECF0-7145-0B62B730572A}"/>
              </a:ext>
            </a:extLst>
          </p:cNvPr>
          <p:cNvSpPr/>
          <p:nvPr/>
        </p:nvSpPr>
        <p:spPr>
          <a:xfrm>
            <a:off x="5189301" y="1775227"/>
            <a:ext cx="4611076" cy="914400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Прямоугольник 1"/>
              <p:cNvSpPr/>
              <p:nvPr/>
            </p:nvSpPr>
            <p:spPr>
              <a:xfrm>
                <a:off x="5402763" y="1786816"/>
                <a:ext cx="4397614" cy="9028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АП</m:t>
                          </m:r>
                        </m:e>
                        <m:sub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3</m:t>
                          </m:r>
                        </m:sub>
                      </m:sSub>
                      <m:r>
                        <a:rPr lang="ru-RU" sz="280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ru-RU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а</m:t>
                          </m:r>
                        </m:num>
                        <m:den>
                          <m:sSub>
                            <m:sSubPr>
                              <m:ctrlPr>
                                <a:rPr lang="ru-RU" sz="28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sz="28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b</m:t>
                              </m:r>
                            </m:e>
                            <m:sub>
                              <m:r>
                                <a:rPr lang="ru-RU" sz="28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ru-RU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ru-RU" sz="28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ru-RU" sz="28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b</m:t>
                              </m:r>
                            </m:e>
                            <m:sub>
                              <m:r>
                                <a:rPr lang="ru-RU" sz="28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ru-RU" sz="28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ru-RU" sz="28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b</m:t>
                              </m:r>
                            </m:e>
                            <m:sub>
                              <m:r>
                                <a:rPr lang="ru-RU" sz="28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3</m:t>
                              </m:r>
                            </m:sub>
                          </m:sSub>
                        </m:den>
                      </m:f>
                      <m:r>
                        <a:rPr lang="ru-RU" sz="280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 ×100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2763" y="1786816"/>
                <a:ext cx="4397614" cy="902811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7361318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ЧЕТНЫЙ ПЕРИОД ПОКАЗАТЕЛЯ АП3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8593545"/>
              </p:ext>
            </p:extLst>
          </p:nvPr>
        </p:nvGraphicFramePr>
        <p:xfrm>
          <a:off x="1413337" y="3711387"/>
          <a:ext cx="6505178" cy="3388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05178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388659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предоставляется </a:t>
                      </a: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выпуску обучающихся года </a:t>
                      </a: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 два года </a:t>
                      </a: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 года проведения </a:t>
                      </a:r>
                      <a:r>
                        <a:rPr lang="ru-RU" sz="2800" dirty="0" err="1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тационного</a:t>
                      </a: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ониторинга</a:t>
                      </a:r>
                      <a:endParaRPr lang="ru-RU" sz="2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8267611"/>
              </p:ext>
            </p:extLst>
          </p:nvPr>
        </p:nvGraphicFramePr>
        <p:xfrm>
          <a:off x="9668434" y="3711387"/>
          <a:ext cx="4394499" cy="3388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94499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388659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4400" b="1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6000" b="1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1 </a:t>
                      </a:r>
                      <a:endParaRPr lang="ru-RU" sz="6000" b="1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966460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3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1807" y="2172110"/>
            <a:ext cx="12432730" cy="67701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772375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6D3F3137-1D37-116F-709B-092777594E5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ВОПРОСЫ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DA5090-39BB-4DD5-6E11-E8138059888F}"/>
              </a:ext>
            </a:extLst>
          </p:cNvPr>
          <p:cNvSpPr txBox="1"/>
          <p:nvPr/>
        </p:nvSpPr>
        <p:spPr>
          <a:xfrm>
            <a:off x="979715" y="2514600"/>
            <a:ext cx="12725399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AutoNum type="arabicPeriod"/>
            </a:pPr>
            <a:r>
              <a:rPr lang="ru-RU" sz="2800" dirty="0"/>
              <a:t>Как считать тех, кто учился по ускоренному ИУП? (считать вместе с годом выпуска, согласно нормативному сроку обучения) </a:t>
            </a:r>
          </a:p>
          <a:p>
            <a:pPr marL="514350" indent="-514350">
              <a:buAutoNum type="arabicPeriod"/>
            </a:pPr>
            <a:endParaRPr lang="ru-RU" sz="2800" dirty="0"/>
          </a:p>
          <a:p>
            <a:pPr marL="514350" indent="-514350">
              <a:buAutoNum type="arabicPeriod"/>
            </a:pPr>
            <a:r>
              <a:rPr lang="ru-RU" sz="2800" dirty="0"/>
              <a:t>Как считать тех, кого массово перевели при реорганизации?</a:t>
            </a:r>
          </a:p>
          <a:p>
            <a:pPr marL="514350" indent="-514350">
              <a:buAutoNum type="arabicPeriod"/>
            </a:pPr>
            <a:endParaRPr lang="ru-RU" sz="2800" dirty="0"/>
          </a:p>
          <a:p>
            <a:pPr marL="514350" indent="-514350">
              <a:buAutoNum type="arabicPeriod"/>
            </a:pPr>
            <a:r>
              <a:rPr lang="ru-RU" sz="2800" dirty="0"/>
              <a:t>Как считать тех, кого перевели с одной формы обучения на другую?</a:t>
            </a:r>
          </a:p>
          <a:p>
            <a:pPr marL="514350" indent="-514350">
              <a:buAutoNum type="arabicPeriod"/>
            </a:pPr>
            <a:endParaRPr lang="ru-RU" sz="2800" dirty="0"/>
          </a:p>
          <a:p>
            <a:pPr marL="514350" indent="-514350">
              <a:buAutoNum type="arabicPeriod"/>
            </a:pPr>
            <a:endParaRPr lang="ru-RU" sz="2800" dirty="0"/>
          </a:p>
          <a:p>
            <a:pPr marL="514350" indent="-514350">
              <a:buAutoNum type="arabicPeriod"/>
            </a:pPr>
            <a:endParaRPr lang="ru-RU" sz="4000" dirty="0"/>
          </a:p>
          <a:p>
            <a:r>
              <a:rPr lang="ru-RU" sz="3600" b="1" dirty="0"/>
              <a:t>Необходимо считать согласно формуле и дополнить комментарием о нестандартной ситуации </a:t>
            </a:r>
          </a:p>
          <a:p>
            <a:pPr marL="514350" indent="-514350">
              <a:buAutoNum type="arabicPeriod"/>
            </a:pPr>
            <a:endParaRPr lang="ru-RU" sz="3600" dirty="0"/>
          </a:p>
          <a:p>
            <a:r>
              <a:rPr lang="ru-RU" sz="3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64719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4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7684956"/>
              </p:ext>
            </p:extLst>
          </p:nvPr>
        </p:nvGraphicFramePr>
        <p:xfrm>
          <a:off x="2030506" y="2097741"/>
          <a:ext cx="11696380" cy="71672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24901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  <a:gridCol w="2772564">
                  <a:extLst>
                    <a:ext uri="{9D8B030D-6E8A-4147-A177-3AD203B41FA5}">
                      <a16:colId xmlns:a16="http://schemas.microsoft.com/office/drawing/2014/main" val="1699904407"/>
                    </a:ext>
                  </a:extLst>
                </a:gridCol>
                <a:gridCol w="2198915">
                  <a:extLst>
                    <a:ext uri="{9D8B030D-6E8A-4147-A177-3AD203B41FA5}">
                      <a16:colId xmlns:a16="http://schemas.microsoft.com/office/drawing/2014/main" val="3182398384"/>
                    </a:ext>
                  </a:extLst>
                </a:gridCol>
              </a:tblGrid>
              <a:tr h="178851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Наименование показателя мониторинга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Значение показател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Количество баллов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  <a:tr h="632130">
                <a:tc row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Доля обучающихся по договорам о целевом обучении, успешно завершивших обучение по образовательной программе высшего образования, в общей численности обучающихся по договорам о целевом обучении </a:t>
                      </a:r>
                      <a:b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</a:b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по соответствующей образовательной программе высшего образования</a:t>
                      </a:r>
                      <a:endParaRPr lang="ru-RU" sz="2800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%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и более</a:t>
                      </a:r>
                      <a:endParaRPr lang="ru-RU" sz="2800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988291"/>
                  </a:ext>
                </a:extLst>
              </a:tr>
              <a:tr h="1215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т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0%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до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9%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74465"/>
                  </a:ext>
                </a:extLst>
              </a:tr>
              <a:tr h="35310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менее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0%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54781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223781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219200" y="2512039"/>
            <a:ext cx="12823371" cy="4946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endParaRPr lang="ru-RU" sz="28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r>
              <a:rPr lang="ru-RU" sz="2800" dirty="0">
                <a:ea typeface="Calibri" panose="020F0502020204030204" pitchFamily="34" charset="0"/>
                <a:cs typeface="Times New Roman" panose="02020603050405020304" pitchFamily="18" charset="0"/>
              </a:rPr>
              <a:t>Приоритетная</a:t>
            </a:r>
            <a:r>
              <a:rPr lang="ru-RU" sz="2800" b="1" dirty="0">
                <a:ea typeface="Calibri" panose="020F0502020204030204" pitchFamily="34" charset="0"/>
                <a:cs typeface="Times New Roman" panose="02020603050405020304" pitchFamily="18" charset="0"/>
              </a:rPr>
              <a:t> форма обучения очная </a:t>
            </a:r>
            <a:r>
              <a:rPr lang="ru-RU" sz="2800" dirty="0">
                <a:ea typeface="Calibri" panose="020F0502020204030204" pitchFamily="34" charset="0"/>
                <a:cs typeface="Times New Roman" panose="02020603050405020304" pitchFamily="18" charset="0"/>
              </a:rPr>
              <a:t>(при ее отсутствии – очно-заочная, при отсутствии очно-заочной - заочная)</a:t>
            </a:r>
          </a:p>
          <a:p>
            <a:pPr marL="457200" indent="-457200">
              <a:buFont typeface="+mj-lt"/>
              <a:buAutoNum type="arabicPeriod"/>
            </a:pPr>
            <a:endParaRPr lang="ru-RU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Учитываются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результаты выпуска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студентов, завершивших обучение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по договорам о целевом обучении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отчисленных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 из организации высшего образования в связи с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окончанием обучения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в соответствии со сроком получения образования по образовательной программе высшего образования (при наличии) 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ЕТОДИКА РАСЧЕТА ПОКАЗАТЕЛЯ АП4 </a:t>
            </a:r>
          </a:p>
        </p:txBody>
      </p:sp>
    </p:spTree>
    <p:extLst>
      <p:ext uri="{BB962C8B-B14F-4D97-AF65-F5344CB8AC3E}">
        <p14:creationId xmlns:p14="http://schemas.microsoft.com/office/powerpoint/2010/main" val="278042341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111624" y="5522259"/>
            <a:ext cx="13039805" cy="4669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0215" algn="just">
              <a:lnSpc>
                <a:spcPct val="107000"/>
              </a:lnSpc>
              <a:spcAft>
                <a:spcPts val="0"/>
              </a:spcAft>
            </a:pP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– численность обучающихся,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успешно завершивших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обучение по договорам о целевом обучении по образовательной программе высшего образования;</a:t>
            </a: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endParaRPr lang="ru-RU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 – общая численность обучающихся,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заключивших договор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о целевом обучении по образовательной программе высшего образования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в течение всего периода обучения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на образовательной программе высшего образования.</a:t>
            </a: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endParaRPr lang="ru-RU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endParaRPr lang="ru-RU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ФОРМУЛА РАСЧЕТА ПОКАЗАТЕЛЯ АП4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6FBDDBF-B972-32C0-1A18-E742691CF3A4}"/>
              </a:ext>
            </a:extLst>
          </p:cNvPr>
          <p:cNvSpPr/>
          <p:nvPr/>
        </p:nvSpPr>
        <p:spPr>
          <a:xfrm>
            <a:off x="5393605" y="3170986"/>
            <a:ext cx="3387969" cy="109415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Прямоугольник 1"/>
              <p:cNvSpPr/>
              <p:nvPr/>
            </p:nvSpPr>
            <p:spPr>
              <a:xfrm>
                <a:off x="5751101" y="3302917"/>
                <a:ext cx="2672976" cy="83029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АП</m:t>
                          </m:r>
                        </m:e>
                        <m:sub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4</m:t>
                          </m:r>
                        </m:sub>
                      </m:sSub>
                      <m:r>
                        <a:rPr lang="ru-RU" sz="280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ru-RU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a</m:t>
                          </m:r>
                        </m:num>
                        <m:den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b</m:t>
                          </m:r>
                        </m:den>
                      </m:f>
                      <m:r>
                        <a:rPr lang="ru-RU" sz="280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×100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51101" y="3302917"/>
                <a:ext cx="2672976" cy="83029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603098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F4F033CE-0746-76EE-62D9-B4E1D4EBC5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5012381"/>
              </p:ext>
            </p:extLst>
          </p:nvPr>
        </p:nvGraphicFramePr>
        <p:xfrm>
          <a:off x="947058" y="2785268"/>
          <a:ext cx="13313228" cy="6968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44DBD7D9-3BB8-0C15-9EF0-345064BF19C1}"/>
              </a:ext>
            </a:extLst>
          </p:cNvPr>
          <p:cNvSpPr/>
          <p:nvPr/>
        </p:nvSpPr>
        <p:spPr>
          <a:xfrm>
            <a:off x="1413336" y="643306"/>
            <a:ext cx="12640121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СРОКИ ПРОВЕДЕНИЯ   </a:t>
            </a:r>
          </a:p>
        </p:txBody>
      </p:sp>
    </p:spTree>
    <p:extLst>
      <p:ext uri="{BB962C8B-B14F-4D97-AF65-F5344CB8AC3E}">
        <p14:creationId xmlns:p14="http://schemas.microsoft.com/office/powerpoint/2010/main" val="139253316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ЧЕТНЫЙ ПЕРИОД ПОКАЗАТЕЛЯ АП4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9139221"/>
              </p:ext>
            </p:extLst>
          </p:nvPr>
        </p:nvGraphicFramePr>
        <p:xfrm>
          <a:off x="2267955" y="2796988"/>
          <a:ext cx="5490997" cy="24280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90997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2428001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365760" algn="l"/>
                        </a:tabLs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предоставляется </a:t>
                      </a: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365760" algn="l"/>
                        </a:tabLs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выпуску обучающихся года </a:t>
                      </a: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365760" algn="l"/>
                        </a:tabLs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 два года 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 года проведения </a:t>
                      </a:r>
                      <a:r>
                        <a:rPr lang="ru-RU" sz="280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тационного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ониторинга</a:t>
                      </a:r>
                      <a:endParaRPr lang="ru-RU" sz="2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7340328"/>
              </p:ext>
            </p:extLst>
          </p:nvPr>
        </p:nvGraphicFramePr>
        <p:xfrm>
          <a:off x="9695329" y="2796989"/>
          <a:ext cx="3066514" cy="2428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66514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2428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60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</a:p>
                  </a:txBody>
                  <a:tcPr marL="20945" marR="20945" marT="34457" marB="344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7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3621036"/>
              </p:ext>
            </p:extLst>
          </p:nvPr>
        </p:nvGraphicFramePr>
        <p:xfrm>
          <a:off x="2267956" y="6688925"/>
          <a:ext cx="5490996" cy="25895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90996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25895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формация по показателю предоставляется</a:t>
                      </a:r>
                      <a:r>
                        <a:rPr lang="ru-RU" sz="2800" baseline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о выпуску обучающихся </a:t>
                      </a:r>
                      <a:r>
                        <a:rPr lang="ru-RU" sz="2800" b="1" baseline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 год </a:t>
                      </a:r>
                      <a:br>
                        <a:rPr lang="ru-RU" sz="2800" b="1" baseline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2800" baseline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 проведения АМ </a:t>
                      </a:r>
                      <a:endParaRPr lang="ru-RU" sz="16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8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6387386"/>
              </p:ext>
            </p:extLst>
          </p:nvPr>
        </p:nvGraphicFramePr>
        <p:xfrm>
          <a:off x="9695329" y="6688925"/>
          <a:ext cx="3066514" cy="25895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66514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2589546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baseline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800" baseline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хническая </a:t>
                      </a: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шибка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741954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4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847" y="2403258"/>
            <a:ext cx="13704975" cy="66331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8203251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5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512936"/>
              </p:ext>
            </p:extLst>
          </p:nvPr>
        </p:nvGraphicFramePr>
        <p:xfrm>
          <a:off x="1909992" y="2172631"/>
          <a:ext cx="12034608" cy="75226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19369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  <a:gridCol w="2883668">
                  <a:extLst>
                    <a:ext uri="{9D8B030D-6E8A-4147-A177-3AD203B41FA5}">
                      <a16:colId xmlns:a16="http://schemas.microsoft.com/office/drawing/2014/main" val="1699904407"/>
                    </a:ext>
                  </a:extLst>
                </a:gridCol>
                <a:gridCol w="2231571">
                  <a:extLst>
                    <a:ext uri="{9D8B030D-6E8A-4147-A177-3AD203B41FA5}">
                      <a16:colId xmlns:a16="http://schemas.microsoft.com/office/drawing/2014/main" val="3182398384"/>
                    </a:ext>
                  </a:extLst>
                </a:gridCol>
              </a:tblGrid>
              <a:tr h="180598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Наименование показателя мониторинга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Значение показател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Количество баллов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  <a:tr h="2464205"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Доля научно-педагогических работников, имеющих ученую степень и (или) ученое звание (в том числе богословские ученые степени и звания), и (или) лиц, приравненных к ним, в общем числе работников, реализующих образовательную программу высшего образования</a:t>
                      </a:r>
                      <a:endParaRPr lang="ru-RU" sz="2800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оответствует ФГОС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988291"/>
                  </a:ext>
                </a:extLst>
              </a:tr>
              <a:tr h="32525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не соответствует ФГОС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74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2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219200" y="2391496"/>
            <a:ext cx="12823371" cy="6193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endParaRPr lang="ru-RU" sz="1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r>
              <a:rPr lang="ru-RU" sz="2400" dirty="0">
                <a:ea typeface="Calibri" panose="020F0502020204030204" pitchFamily="34" charset="0"/>
                <a:cs typeface="Times New Roman" panose="02020603050405020304" pitchFamily="18" charset="0"/>
              </a:rPr>
              <a:t>Приоритетная</a:t>
            </a:r>
            <a:r>
              <a:rPr lang="ru-RU" sz="2400" b="1" dirty="0">
                <a:ea typeface="Calibri" panose="020F0502020204030204" pitchFamily="34" charset="0"/>
                <a:cs typeface="Times New Roman" panose="02020603050405020304" pitchFamily="18" charset="0"/>
              </a:rPr>
              <a:t> форма обучения очная </a:t>
            </a:r>
            <a:r>
              <a:rPr lang="ru-RU" sz="2400" dirty="0">
                <a:ea typeface="Calibri" panose="020F0502020204030204" pitchFamily="34" charset="0"/>
                <a:cs typeface="Times New Roman" panose="02020603050405020304" pitchFamily="18" charset="0"/>
              </a:rPr>
              <a:t>(при ее отсутствии – очно-заочная, при отсутствии очно-заочной - заочная).</a:t>
            </a:r>
          </a:p>
          <a:p>
            <a:pPr marL="457200" indent="-457200">
              <a:buFont typeface="+mj-lt"/>
              <a:buAutoNum type="arabicPeriod"/>
            </a:pP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Используются сведения о НПР, задействованных в реализации ОП ВО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в текущем учебном году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в котором проводится аккредитационный мониторинг,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на старшем курсе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обучающемся в организации высшего образования по данной образовательной программе. </a:t>
            </a: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endParaRPr lang="ru-RU" sz="24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НПР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с ученой степенью и (или) ученым званием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 (в </a:t>
            </a:r>
            <a:r>
              <a:rPr lang="ru-RU" sz="24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т.ч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. богословскими учеными степенями и званиями)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приравниваются лица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имеющие награды, международные почетные звания или премии и (или) государственные почетные звания в соответствующей профессиональной сфере, и (или) являющиеся лауреатами государственных премий в соответствующей профессиональной сфере и т.д.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ЕТОДИКА РАСЧЕТА ПОКАЗАТЕЛЯ АП5 </a:t>
            </a:r>
          </a:p>
        </p:txBody>
      </p:sp>
    </p:spTree>
    <p:extLst>
      <p:ext uri="{BB962C8B-B14F-4D97-AF65-F5344CB8AC3E}">
        <p14:creationId xmlns:p14="http://schemas.microsoft.com/office/powerpoint/2010/main" val="18245586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219200" y="5184162"/>
            <a:ext cx="12823371" cy="46422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0215" algn="just">
              <a:lnSpc>
                <a:spcPct val="107000"/>
              </a:lnSpc>
              <a:spcAft>
                <a:spcPts val="0"/>
              </a:spcAft>
            </a:pP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 – количество ставок, занимаемых научно-педагогическими работниками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с ученой степенью и (или) ученым званием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 (в том числе богословскими учеными степенями и званиями) и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лицами, приравненными к ним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, участвующими в реализации образовательной программы высшего образования,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в том числе внешние совместители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а также количество ставок, эквивалентное нагрузке, осуществляемой лицами, работающими по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договорам гражданско-правового характера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endParaRPr lang="ru-RU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общее количество ставок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занимаемых лицами, участвующими в реализации образовательной программы высшего образования.</a:t>
            </a:r>
            <a:endParaRPr lang="ru-RU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ФОРМУЛА РАСЧЕТА ПОКАЗАТЕЛЯ АП5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92D61C7-1F6F-CCD7-2307-7298F279715C}"/>
              </a:ext>
            </a:extLst>
          </p:cNvPr>
          <p:cNvSpPr/>
          <p:nvPr/>
        </p:nvSpPr>
        <p:spPr>
          <a:xfrm>
            <a:off x="5215904" y="3085598"/>
            <a:ext cx="3387969" cy="109415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Прямоугольник 1"/>
              <p:cNvSpPr/>
              <p:nvPr/>
            </p:nvSpPr>
            <p:spPr>
              <a:xfrm>
                <a:off x="5309285" y="3198734"/>
                <a:ext cx="2724272" cy="88197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АП</m:t>
                          </m:r>
                        </m:e>
                        <m:sub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5 </m:t>
                          </m:r>
                        </m:sub>
                      </m:sSub>
                      <m:r>
                        <a:rPr lang="ru-RU" sz="280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ru-RU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a</m:t>
                          </m:r>
                        </m:num>
                        <m:den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b</m:t>
                          </m:r>
                        </m:den>
                      </m:f>
                      <m:r>
                        <a:rPr lang="ru-RU" sz="280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×100</m:t>
                      </m:r>
                    </m:oMath>
                  </m:oMathPara>
                </a14:m>
                <a:endParaRPr lang="ru-RU" sz="2800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9285" y="3198734"/>
                <a:ext cx="2724272" cy="881973"/>
              </a:xfrm>
              <a:prstGeom prst="rect">
                <a:avLst/>
              </a:prstGeom>
              <a:blipFill>
                <a:blip r:embed="rId2"/>
                <a:stretch>
                  <a:fillRect r="-783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9242981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ЧЕТНЫЙ ПЕРИОД ПОКАЗАТЕЛЯ АП5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0740815"/>
              </p:ext>
            </p:extLst>
          </p:nvPr>
        </p:nvGraphicFramePr>
        <p:xfrm>
          <a:off x="1805105" y="3915164"/>
          <a:ext cx="6432026" cy="38303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32026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830341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предоставляется </a:t>
                      </a:r>
                      <a:b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оответствии с информацией, размещенной организацией высшего образования на официальном сайте  </a:t>
                      </a:r>
                      <a:r>
                        <a:rPr lang="ru-RU" sz="2800" b="1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год проведения </a:t>
                      </a:r>
                      <a:r>
                        <a:rPr lang="ru-RU" sz="28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тационного мониторинга </a:t>
                      </a:r>
                      <a:endParaRPr lang="ru-RU" sz="2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6665626"/>
              </p:ext>
            </p:extLst>
          </p:nvPr>
        </p:nvGraphicFramePr>
        <p:xfrm>
          <a:off x="9520518" y="3915164"/>
          <a:ext cx="4592978" cy="38303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92978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830341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4800" b="1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6000" b="1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3 </a:t>
                      </a:r>
                      <a:endParaRPr lang="ru-RU" sz="6000" b="1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238339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5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3337" y="1918181"/>
            <a:ext cx="11768733" cy="73871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5865411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C168F4D8-4B7A-F3FF-7DED-631EE2D83E1E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ВОПРОСЫ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A0D12D-86EF-ED2C-D105-E87307D9AF36}"/>
              </a:ext>
            </a:extLst>
          </p:cNvPr>
          <p:cNvSpPr txBox="1"/>
          <p:nvPr/>
        </p:nvSpPr>
        <p:spPr>
          <a:xfrm>
            <a:off x="1077686" y="2903699"/>
            <a:ext cx="12954000" cy="6750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AutoNum type="arabicPeriod"/>
            </a:pPr>
            <a:r>
              <a:rPr lang="ru-RU" dirty="0"/>
              <a:t>Как считать: в расчете на 1 студента или на группу?  (суммируются все ставки)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Считать ли нагрузку за руководство ВКР, практикой? (да) 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Как считать по лиц, работающих по соглашению о сетевой форме реализации ОПОП, не являющихся работниками вуза? (считать вместе со своими работниками)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Как оформлять кадровую справку, подтверждающую сведения? (специальная кадровая справка на год не нужна, достоверность сведений подтверждается подписью ректора).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Если преподаватель работает на разных программах, считать всю его нагрузку или только на данной программе? (считается нагрузка только на данной программе).</a:t>
            </a:r>
          </a:p>
          <a:p>
            <a:pPr marL="514350" indent="-514350">
              <a:buAutoNum type="arabicPeriod"/>
            </a:pP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019919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6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8594346"/>
              </p:ext>
            </p:extLst>
          </p:nvPr>
        </p:nvGraphicFramePr>
        <p:xfrm>
          <a:off x="1413337" y="1809560"/>
          <a:ext cx="12553034" cy="75630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17440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  <a:gridCol w="3082252">
                  <a:extLst>
                    <a:ext uri="{9D8B030D-6E8A-4147-A177-3AD203B41FA5}">
                      <a16:colId xmlns:a16="http://schemas.microsoft.com/office/drawing/2014/main" val="1699904407"/>
                    </a:ext>
                  </a:extLst>
                </a:gridCol>
                <a:gridCol w="2253342">
                  <a:extLst>
                    <a:ext uri="{9D8B030D-6E8A-4147-A177-3AD203B41FA5}">
                      <a16:colId xmlns:a16="http://schemas.microsoft.com/office/drawing/2014/main" val="3182398384"/>
                    </a:ext>
                  </a:extLst>
                </a:gridCol>
              </a:tblGrid>
              <a:tr h="20174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Наименование показателя мониторинга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Значение показател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Количество баллов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  <a:tr h="2508181"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Доля работников из числа руководителей и (или) работников организаций, деятельность которых связана с направленностью (профилем) реализуемой образовательной программы (имеющих стаж работы в данной профессиональной области), в общем числе лиц, реализующих образовательную программу высшего образования</a:t>
                      </a:r>
                      <a:endParaRPr lang="ru-RU" sz="2800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оответствует ФГОС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988291"/>
                  </a:ext>
                </a:extLst>
              </a:tr>
              <a:tr h="303741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не соответствует ФГОС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74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613947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084730" y="2231571"/>
            <a:ext cx="12823371" cy="7931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endParaRPr lang="ru-RU" sz="1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r>
              <a:rPr lang="ru-RU" sz="2800" dirty="0">
                <a:ea typeface="Calibri" panose="020F0502020204030204" pitchFamily="34" charset="0"/>
                <a:cs typeface="Times New Roman" panose="02020603050405020304" pitchFamily="18" charset="0"/>
              </a:rPr>
              <a:t>Приоритетная</a:t>
            </a:r>
            <a:r>
              <a:rPr lang="ru-RU" sz="2800" b="1" dirty="0">
                <a:ea typeface="Calibri" panose="020F0502020204030204" pitchFamily="34" charset="0"/>
                <a:cs typeface="Times New Roman" panose="02020603050405020304" pitchFamily="18" charset="0"/>
              </a:rPr>
              <a:t> форма обучения очная </a:t>
            </a:r>
            <a:r>
              <a:rPr lang="ru-RU" sz="2800" dirty="0">
                <a:ea typeface="Calibri" panose="020F0502020204030204" pitchFamily="34" charset="0"/>
                <a:cs typeface="Times New Roman" panose="02020603050405020304" pitchFamily="18" charset="0"/>
              </a:rPr>
              <a:t>(при ее отсутствии – очно-заочная, при отсутствии очно-заочной - заочная).</a:t>
            </a: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endParaRPr lang="ru-RU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>
              <a:buFont typeface="+mj-lt"/>
              <a:buAutoNum type="arabicPeriod"/>
            </a:pPr>
            <a:endParaRPr lang="ru-RU" sz="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Используются сведения о работниках, задействованных в реализации ОПОП ВО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в текущем учебном году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в котором проводится аккредитационный мониторинг,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на старшем курсе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обучающемся в организации высшего образования по данной образовательной программе </a:t>
            </a: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endParaRPr lang="ru-RU" sz="28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endParaRPr lang="ru-RU" sz="1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</a:pP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Учитываются работники, участвующие в реализации ОПОП ВО, в т.ч.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работники из числа руководителей и (или) работников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организаций и (или) образовательных организаций, деятельность которых связана с направленностью (профилем) реализуемой ОП ВО (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имеющие стаж работы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в данной профессиональной области)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ЕТОДИКА РАСЧЕТА ПОКАЗАТЕЛЯ АП6 </a:t>
            </a:r>
          </a:p>
        </p:txBody>
      </p:sp>
    </p:spTree>
    <p:extLst>
      <p:ext uri="{BB962C8B-B14F-4D97-AF65-F5344CB8AC3E}">
        <p14:creationId xmlns:p14="http://schemas.microsoft.com/office/powerpoint/2010/main" val="2885926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4">
            <a:extLst>
              <a:ext uri="{FF2B5EF4-FFF2-40B4-BE49-F238E27FC236}">
                <a16:creationId xmlns:a16="http://schemas.microsoft.com/office/drawing/2014/main" id="{714F3D0F-88DB-2184-780B-F814F8DDDC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716797"/>
              </p:ext>
            </p:extLst>
          </p:nvPr>
        </p:nvGraphicFramePr>
        <p:xfrm>
          <a:off x="1313542" y="2495437"/>
          <a:ext cx="12783457" cy="7443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92887">
                  <a:extLst>
                    <a:ext uri="{9D8B030D-6E8A-4147-A177-3AD203B41FA5}">
                      <a16:colId xmlns:a16="http://schemas.microsoft.com/office/drawing/2014/main" val="1877253897"/>
                    </a:ext>
                  </a:extLst>
                </a:gridCol>
                <a:gridCol w="8390570">
                  <a:extLst>
                    <a:ext uri="{9D8B030D-6E8A-4147-A177-3AD203B41FA5}">
                      <a16:colId xmlns:a16="http://schemas.microsoft.com/office/drawing/2014/main" val="7692843"/>
                    </a:ext>
                  </a:extLst>
                </a:gridCol>
              </a:tblGrid>
              <a:tr h="114812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Региональная </a:t>
                      </a:r>
                    </a:p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групп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Период участ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6863637"/>
                  </a:ext>
                </a:extLst>
              </a:tr>
              <a:tr h="62951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2.09 – 24.0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260666"/>
                  </a:ext>
                </a:extLst>
              </a:tr>
              <a:tr h="62951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8.09 – 01.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71415"/>
                  </a:ext>
                </a:extLst>
              </a:tr>
              <a:tr h="62951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5.09 – 08.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287"/>
                  </a:ext>
                </a:extLst>
              </a:tr>
              <a:tr h="62951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02.10 – 22.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9653247"/>
                  </a:ext>
                </a:extLst>
              </a:tr>
              <a:tr h="62951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6.10 – 29.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7120140"/>
                  </a:ext>
                </a:extLst>
              </a:tr>
              <a:tr h="62951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3.10 – 05.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815286"/>
                  </a:ext>
                </a:extLst>
              </a:tr>
              <a:tr h="62951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30.10 – 12.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8187583"/>
                  </a:ext>
                </a:extLst>
              </a:tr>
              <a:tr h="62951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06.11 – 19.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0283549"/>
                  </a:ext>
                </a:extLst>
              </a:tr>
              <a:tr h="62951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3.11 – 26.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3236201"/>
                  </a:ext>
                </a:extLst>
              </a:tr>
              <a:tr h="62951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Резервные дн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7.11 – 30.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4650680"/>
                  </a:ext>
                </a:extLst>
              </a:tr>
            </a:tbl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B4CFF69E-5C7C-A2D9-DC4E-8A7DBEC66D68}"/>
              </a:ext>
            </a:extLst>
          </p:cNvPr>
          <p:cNvSpPr/>
          <p:nvPr/>
        </p:nvSpPr>
        <p:spPr>
          <a:xfrm>
            <a:off x="1413336" y="643306"/>
            <a:ext cx="12640121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ГРАФИК УЧАСТИЯ    </a:t>
            </a:r>
          </a:p>
        </p:txBody>
      </p:sp>
    </p:spTree>
    <p:extLst>
      <p:ext uri="{BB962C8B-B14F-4D97-AF65-F5344CB8AC3E}">
        <p14:creationId xmlns:p14="http://schemas.microsoft.com/office/powerpoint/2010/main" val="138416983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219200" y="4755777"/>
            <a:ext cx="12823371" cy="51301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0215" algn="just">
              <a:lnSpc>
                <a:spcPct val="107000"/>
              </a:lnSpc>
              <a:spcAft>
                <a:spcPts val="0"/>
              </a:spcAft>
            </a:pP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 – количество ставок, занимаемых работниками из числа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руководителей и (или) работников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организаций, деятельность которых связана с направленностью (профилем) реализуемой образовательной программы (имеющих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стаж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 работы в данной профессиональной области), участвующими в реализации образовательной программы высшего образования, в том числе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внешние совместили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, а также количество ставок, эквивалентное нагрузке, осуществляемой лицами, работающими по </a:t>
            </a: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договорам гражданско-правового характера</a:t>
            </a:r>
            <a:endParaRPr lang="ru-RU" sz="28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endParaRPr lang="ru-RU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r>
              <a:rPr lang="ru-RU" sz="28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b </a:t>
            </a:r>
            <a:r>
              <a:rPr lang="ru-RU" sz="2800" dirty="0">
                <a:ea typeface="Times New Roman" panose="02020603050405020304" pitchFamily="18" charset="0"/>
                <a:cs typeface="Times New Roman" panose="02020603050405020304" pitchFamily="18" charset="0"/>
              </a:rPr>
              <a:t>– общее количество ставок, занимаемых лицами, участвующими в реализации образовательной программы высшего образования</a:t>
            </a:r>
            <a:endParaRPr lang="ru-RU" sz="28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ФОРМУЛА РАСЧЕТА ПОКАЗАТЕЛЯ АП6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53FC83B-C86C-E730-7DA6-FBFB0E1CBB7F}"/>
              </a:ext>
            </a:extLst>
          </p:cNvPr>
          <p:cNvSpPr/>
          <p:nvPr/>
        </p:nvSpPr>
        <p:spPr>
          <a:xfrm>
            <a:off x="5582715" y="2952163"/>
            <a:ext cx="3356709" cy="119950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Прямоугольник 1"/>
              <p:cNvSpPr/>
              <p:nvPr/>
            </p:nvSpPr>
            <p:spPr>
              <a:xfrm>
                <a:off x="5582715" y="3130764"/>
                <a:ext cx="2724272" cy="88197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indent="450215" algn="just">
                  <a:lnSpc>
                    <a:spcPct val="107000"/>
                  </a:lnSpc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АП</m:t>
                          </m:r>
                        </m:e>
                        <m:sub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6 </m:t>
                          </m:r>
                        </m:sub>
                      </m:sSub>
                      <m:r>
                        <a:rPr lang="ru-RU" sz="280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ru-RU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a</m:t>
                          </m:r>
                        </m:num>
                        <m:den>
                          <m: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ru-RU" sz="28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b</m:t>
                          </m:r>
                        </m:den>
                      </m:f>
                      <m:r>
                        <a:rPr lang="ru-RU" sz="280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×100</m:t>
                      </m:r>
                    </m:oMath>
                  </m:oMathPara>
                </a14:m>
                <a:endParaRPr lang="ru-RU" sz="2400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2715" y="3130764"/>
                <a:ext cx="2724272" cy="881973"/>
              </a:xfrm>
              <a:prstGeom prst="rect">
                <a:avLst/>
              </a:prstGeom>
              <a:blipFill>
                <a:blip r:embed="rId2"/>
                <a:stretch>
                  <a:fillRect r="-783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6865079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ЧЕТНЫЙ ПЕРИОД ПОКАЗАТЕЛЯ АП6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4377293"/>
              </p:ext>
            </p:extLst>
          </p:nvPr>
        </p:nvGraphicFramePr>
        <p:xfrm>
          <a:off x="1161887" y="3563471"/>
          <a:ext cx="6762734" cy="39668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62734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966882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предоставляется в соответствии с информацией, размещенной организацией высшего образования на официальном сайте </a:t>
                      </a: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од проведения 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тационного мониторинга</a:t>
                      </a:r>
                      <a:endParaRPr lang="ru-RU" sz="2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173436"/>
              </p:ext>
            </p:extLst>
          </p:nvPr>
        </p:nvGraphicFramePr>
        <p:xfrm>
          <a:off x="9574305" y="3565263"/>
          <a:ext cx="3715691" cy="39650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15691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965089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48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60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429626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219200" y="1853133"/>
            <a:ext cx="128233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endParaRPr lang="ru-RU" sz="2800" dirty="0"/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6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199" y="1853132"/>
            <a:ext cx="11542643" cy="76950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659450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C168F4D8-4B7A-F3FF-7DED-631EE2D83E1E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ВОПРОСЫ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A0D12D-86EF-ED2C-D105-E87307D9AF36}"/>
              </a:ext>
            </a:extLst>
          </p:cNvPr>
          <p:cNvSpPr txBox="1"/>
          <p:nvPr/>
        </p:nvSpPr>
        <p:spPr>
          <a:xfrm>
            <a:off x="1077686" y="2457385"/>
            <a:ext cx="12954000" cy="83168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AutoNum type="arabicPeriod"/>
            </a:pPr>
            <a:r>
              <a:rPr lang="ru-RU" dirty="0"/>
              <a:t>Как считать: в расчете на 1 студента или на группу?  (суммируются все ставки)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Считать ли руководство ВКР, практикой? (да) 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Как считать по лиц, работающих по соглашению о сетевой форме реализации ОПОП, не являющихся работниками вуза? (считать вместе со своими работниками)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Как оформлять кадровую справку, подтверждающую сведения? (специальная кадровая справка на год не нужна, достоверность сведений подтверждается подписью ректора).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Если преподаватель работает на разных программах, считать всю его нагрузку или только на данной программе? (считается нагрузка только на данной программе).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b="1" dirty="0"/>
              <a:t>Какой необходим минимальный стаж работы по профилю ОПОП, чтобы считать педагога практиком? (на усмотрение образовательной организации)</a:t>
            </a:r>
          </a:p>
          <a:p>
            <a:pPr marL="514350" indent="-514350">
              <a:buAutoNum type="arabicPeriod"/>
            </a:pPr>
            <a:endParaRPr lang="ru-RU" b="1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129632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7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3835098"/>
              </p:ext>
            </p:extLst>
          </p:nvPr>
        </p:nvGraphicFramePr>
        <p:xfrm>
          <a:off x="1413337" y="2186078"/>
          <a:ext cx="11468945" cy="73075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61566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  <a:gridCol w="2843837">
                  <a:extLst>
                    <a:ext uri="{9D8B030D-6E8A-4147-A177-3AD203B41FA5}">
                      <a16:colId xmlns:a16="http://schemas.microsoft.com/office/drawing/2014/main" val="1699904407"/>
                    </a:ext>
                  </a:extLst>
                </a:gridCol>
                <a:gridCol w="2363542">
                  <a:extLst>
                    <a:ext uri="{9D8B030D-6E8A-4147-A177-3AD203B41FA5}">
                      <a16:colId xmlns:a16="http://schemas.microsoft.com/office/drawing/2014/main" val="3182398384"/>
                    </a:ext>
                  </a:extLst>
                </a:gridCol>
              </a:tblGrid>
              <a:tr h="202049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Наименование показателя мониторинга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Значение показател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Количество баллов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  <a:tr h="637373"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Наличие внутренней системы оценки качества образования</a:t>
                      </a:r>
                      <a:endParaRPr lang="ru-RU" sz="2800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имеетс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988291"/>
                  </a:ext>
                </a:extLst>
              </a:tr>
              <a:tr h="46496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не имеетс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74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159006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219200" y="1691768"/>
            <a:ext cx="12823371" cy="78305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07000"/>
              </a:lnSpc>
              <a:buAutoNum type="arabicPeriod"/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Информация предоставляется по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образовательной программе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457200" indent="-457200" algn="just">
              <a:lnSpc>
                <a:spcPct val="107000"/>
              </a:lnSpc>
              <a:buAutoNum type="arabicPeriod"/>
            </a:pPr>
            <a:endParaRPr lang="ru-RU" sz="2400" b="1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07000"/>
              </a:lnSpc>
              <a:buAutoNum type="arabicPeriod"/>
            </a:pP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Критерии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внутренней системы оценки качества образования:</a:t>
            </a: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360000" algn="just">
              <a:lnSpc>
                <a:spcPct val="107000"/>
              </a:lnSpc>
              <a:spcAft>
                <a:spcPts val="0"/>
              </a:spcAft>
            </a:pP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     а) Локальный нормативный акт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о внутренней системе оценки качества образования;</a:t>
            </a: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360000" algn="just">
              <a:lnSpc>
                <a:spcPct val="107000"/>
              </a:lnSpc>
              <a:spcAft>
                <a:spcPts val="0"/>
              </a:spcAft>
            </a:pPr>
            <a:r>
              <a:rPr lang="ru-RU" sz="2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    б)   отчет о самообследовании, включающий информацию о: </a:t>
            </a:r>
            <a:endParaRPr lang="ru-RU" sz="2400" dirty="0">
              <a:solidFill>
                <a:srgbClr val="FF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360000" algn="just">
              <a:lnSpc>
                <a:spcPct val="107000"/>
              </a:lnSpc>
              <a:spcAft>
                <a:spcPts val="0"/>
              </a:spcAft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- результатах опросов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работодателей и (или) их объединений, иных юридических и (или) физических лиц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об удовлетворенности качеством образования;</a:t>
            </a: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360000" algn="just">
              <a:lnSpc>
                <a:spcPct val="107000"/>
              </a:lnSpc>
              <a:spcAft>
                <a:spcPts val="0"/>
              </a:spcAft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-  результатах опросов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педагогических и научных работников 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организации высшего образования об удовлетворенности условиями и организацией образовательной деятельности в рамках реализации образовательной программы высшего образования;</a:t>
            </a:r>
            <a:endParaRPr lang="ru-RU" sz="2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360000" algn="just">
              <a:lnSpc>
                <a:spcPct val="107000"/>
              </a:lnSpc>
              <a:spcAft>
                <a:spcPts val="0"/>
              </a:spcAft>
            </a:pP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- результатах опросов 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обучающихся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 организации высшего образования об удовлетворенности условиями, содержанием, организацией и качеством образовательного процесса в целом и отдельных дисциплин (модулей) и практик.</a:t>
            </a:r>
          </a:p>
          <a:p>
            <a:pPr indent="450215" algn="ctr">
              <a:lnSpc>
                <a:spcPct val="107000"/>
              </a:lnSpc>
              <a:spcAft>
                <a:spcPts val="0"/>
              </a:spcAft>
            </a:pPr>
            <a:endParaRPr lang="ru-RU" sz="2800" b="1" dirty="0">
              <a:solidFill>
                <a:srgbClr val="C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ctr">
              <a:lnSpc>
                <a:spcPct val="107000"/>
              </a:lnSpc>
              <a:spcAft>
                <a:spcPts val="0"/>
              </a:spcAft>
            </a:pPr>
            <a:endParaRPr lang="ru-RU" sz="2800" b="1" dirty="0">
              <a:solidFill>
                <a:srgbClr val="C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ctr">
              <a:lnSpc>
                <a:spcPct val="107000"/>
              </a:lnSpc>
              <a:spcAft>
                <a:spcPts val="0"/>
              </a:spcAft>
            </a:pPr>
            <a:r>
              <a:rPr lang="ru-RU" sz="2800" b="1" dirty="0">
                <a:solidFill>
                  <a:srgbClr val="C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Подтверждается ссылками на соответствующие разделы официального сайта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ЕТОДИКА РАСЧЕТА ПОКАЗАТЕЛЯ АП7 </a:t>
            </a:r>
          </a:p>
        </p:txBody>
      </p:sp>
    </p:spTree>
    <p:extLst>
      <p:ext uri="{BB962C8B-B14F-4D97-AF65-F5344CB8AC3E}">
        <p14:creationId xmlns:p14="http://schemas.microsoft.com/office/powerpoint/2010/main" val="390943074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ЧЕТНЫЙ ПЕРИОД ПОКАЗАТЕЛЯ АП7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4616964"/>
              </p:ext>
            </p:extLst>
          </p:nvPr>
        </p:nvGraphicFramePr>
        <p:xfrm>
          <a:off x="1934016" y="2891118"/>
          <a:ext cx="6188007" cy="33348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188007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33487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по показателю предоставляется за </a:t>
                      </a:r>
                      <a:r>
                        <a:rPr lang="ru-RU" sz="2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од, предшествующий </a:t>
                      </a:r>
                      <a:r>
                        <a:rPr lang="ru-RU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оду проведения </a:t>
                      </a:r>
                      <a:r>
                        <a:rPr lang="ru-RU" sz="2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тационного</a:t>
                      </a:r>
                      <a:r>
                        <a:rPr lang="ru-RU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ониторинга</a:t>
                      </a:r>
                      <a:endParaRPr lang="ru-RU" sz="28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6757094"/>
              </p:ext>
            </p:extLst>
          </p:nvPr>
        </p:nvGraphicFramePr>
        <p:xfrm>
          <a:off x="9681881" y="2888966"/>
          <a:ext cx="3536577" cy="33370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36577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3370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endParaRPr lang="ru-RU" sz="40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60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7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9743150"/>
              </p:ext>
            </p:extLst>
          </p:nvPr>
        </p:nvGraphicFramePr>
        <p:xfrm>
          <a:off x="1934015" y="7019364"/>
          <a:ext cx="6188007" cy="28642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188007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28642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лучае если на момент проведения </a:t>
                      </a:r>
                      <a:r>
                        <a:rPr lang="ru-RU" sz="2800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тационного</a:t>
                      </a:r>
                      <a:r>
                        <a:rPr lang="ru-RU" sz="2800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ониторинга отчет </a:t>
                      </a:r>
                      <a:br>
                        <a:rPr lang="ru-RU" sz="2800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800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 </a:t>
                      </a:r>
                      <a:r>
                        <a:rPr lang="ru-RU" sz="2800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амообследовании</a:t>
                      </a:r>
                      <a:r>
                        <a:rPr lang="ru-RU" sz="2800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организации не сформирован, используются данные за предыдущий год</a:t>
                      </a:r>
                      <a:endParaRPr lang="ru-RU" sz="2800" b="1" strike="noStrike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8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4688126"/>
              </p:ext>
            </p:extLst>
          </p:nvPr>
        </p:nvGraphicFramePr>
        <p:xfrm>
          <a:off x="9820834" y="7019364"/>
          <a:ext cx="3397623" cy="28642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97623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2864223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baseline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baseline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хническая </a:t>
                      </a:r>
                    </a:p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шибка</a:t>
                      </a:r>
                      <a:endParaRPr lang="ru-RU" sz="2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072523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7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0" y="1839687"/>
            <a:ext cx="12751744" cy="79901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8522562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F239CEAC-3EA0-9D77-4667-2C4DF04BF761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ВОПРОСЫ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4C0123-5FBF-9AE7-CA83-BD0D0A6F62A1}"/>
              </a:ext>
            </a:extLst>
          </p:cNvPr>
          <p:cNvSpPr txBox="1"/>
          <p:nvPr/>
        </p:nvSpPr>
        <p:spPr>
          <a:xfrm>
            <a:off x="914401" y="2503715"/>
            <a:ext cx="12398828" cy="635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AutoNum type="arabicPeriod"/>
            </a:pPr>
            <a:r>
              <a:rPr lang="ru-RU" dirty="0"/>
              <a:t>Можно ли эти данные представить как приложение к отчету о самообследовании? (да, но не обязательно)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Нужно ли переделывать отчет о самообследовании, если необходимые данные в нем не представлены? (нет, не нужно, данные могут быть представлены в виде самостоятельных материалов)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Должны ли данные о результатах проведения ВСОКО размещаться на сайте вуза в открытом доступе? (такого требования нет, данные могут быть размещены на любом ресурсе).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r>
              <a:rPr lang="ru-RU" dirty="0"/>
              <a:t>Данные необходимо представлять по ОПОП или по вузу? (по ОПОП)</a:t>
            </a:r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endParaRPr lang="ru-RU" dirty="0"/>
          </a:p>
          <a:p>
            <a:pPr marL="514350" indent="-514350">
              <a:buAutoNum type="arabicPeriod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92375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8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833299"/>
              </p:ext>
            </p:extLst>
          </p:nvPr>
        </p:nvGraphicFramePr>
        <p:xfrm>
          <a:off x="1584064" y="2126911"/>
          <a:ext cx="12197250" cy="72860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12881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  <a:gridCol w="2941912">
                  <a:extLst>
                    <a:ext uri="{9D8B030D-6E8A-4147-A177-3AD203B41FA5}">
                      <a16:colId xmlns:a16="http://schemas.microsoft.com/office/drawing/2014/main" val="1699904407"/>
                    </a:ext>
                  </a:extLst>
                </a:gridCol>
                <a:gridCol w="2242457">
                  <a:extLst>
                    <a:ext uri="{9D8B030D-6E8A-4147-A177-3AD203B41FA5}">
                      <a16:colId xmlns:a16="http://schemas.microsoft.com/office/drawing/2014/main" val="3182398384"/>
                    </a:ext>
                  </a:extLst>
                </a:gridCol>
              </a:tblGrid>
              <a:tr h="16143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Наименование показателя мониторинга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Значение показателя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Количество баллов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CD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  <a:tr h="594759">
                <a:tc rowSpan="3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ыпускников, </a:t>
                      </a: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рудоустроившихся</a:t>
                      </a:r>
                      <a:r>
                        <a:rPr lang="ru-RU" sz="2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 течение календарного года, следующего за годом выпуска, в общей численности </a:t>
                      </a: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пускников</a:t>
                      </a:r>
                      <a:r>
                        <a:rPr lang="ru-RU" sz="2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образовательной организации, обучавшихся по образовательным программам высшего образования (</a:t>
                      </a: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применяется</a:t>
                      </a:r>
                      <a:r>
                        <a:rPr lang="ru-RU" sz="2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для образовательных программ высшего образования – программ </a:t>
                      </a: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гистратуры, ординатуры, </a:t>
                      </a:r>
                      <a:r>
                        <a:rPr lang="ru-RU" sz="2800" b="1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ссистентуры</a:t>
                      </a:r>
                      <a:r>
                        <a:rPr lang="ru-RU" sz="28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стажировки</a:t>
                      </a:r>
                      <a:r>
                        <a:rPr lang="ru-RU" sz="2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5% 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и более</a:t>
                      </a:r>
                      <a:endParaRPr lang="ru-RU" sz="2800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988291"/>
                  </a:ext>
                </a:extLst>
              </a:tr>
              <a:tr h="5947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т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%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до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5%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74465"/>
                  </a:ext>
                </a:extLst>
              </a:tr>
              <a:tr h="44821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менее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%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</a:t>
                      </a:r>
                      <a:endParaRPr lang="ru-RU" sz="2800" b="1" dirty="0">
                        <a:effectLst/>
                        <a:latin typeface="+mn-lt"/>
                      </a:endParaRPr>
                    </a:p>
                  </a:txBody>
                  <a:tcPr marL="36195" marR="17780" marT="17780" marB="177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54781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49072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C5F9234C-5497-80CA-53D6-1A439B3597CE}"/>
              </a:ext>
            </a:extLst>
          </p:cNvPr>
          <p:cNvSpPr/>
          <p:nvPr/>
        </p:nvSpPr>
        <p:spPr>
          <a:xfrm>
            <a:off x="1413336" y="643306"/>
            <a:ext cx="12640121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ИНФОРМАЦИОННАЯ ПОДДЕРЖКА  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0DE515B9-87BF-6B4E-0A48-4AA964125F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7155459"/>
              </p:ext>
            </p:extLst>
          </p:nvPr>
        </p:nvGraphicFramePr>
        <p:xfrm>
          <a:off x="914400" y="3352800"/>
          <a:ext cx="12954000" cy="64661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0545231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82E177-F227-B59F-8C13-8AB250D23361}"/>
              </a:ext>
            </a:extLst>
          </p:cNvPr>
          <p:cNvSpPr txBox="1"/>
          <p:nvPr/>
        </p:nvSpPr>
        <p:spPr>
          <a:xfrm>
            <a:off x="1125071" y="2176787"/>
            <a:ext cx="13209494" cy="43642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30000"/>
              </a:lnSpc>
              <a:buFont typeface="+mj-lt"/>
              <a:buAutoNum type="arabicPeriod"/>
            </a:pPr>
            <a:r>
              <a:rPr lang="ru-RU" sz="2400" dirty="0"/>
              <a:t>Р</a:t>
            </a:r>
            <a:r>
              <a:rPr lang="ru-RU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ассчитывается по</a:t>
            </a:r>
            <a:r>
              <a:rPr lang="ru-RU" sz="2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 образовательной программе</a:t>
            </a:r>
          </a:p>
          <a:p>
            <a:pPr algn="just">
              <a:lnSpc>
                <a:spcPct val="130000"/>
              </a:lnSpc>
            </a:pPr>
            <a:endParaRPr lang="ru-RU" sz="24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30000"/>
              </a:lnSpc>
            </a:pPr>
            <a:r>
              <a:rPr lang="ru-RU" sz="2400" dirty="0">
                <a:ea typeface="Times New Roman" panose="02020603050405020304" pitchFamily="18" charset="0"/>
              </a:rPr>
              <a:t>2. При условии одновременного наличия у выпускника </a:t>
            </a:r>
            <a:r>
              <a:rPr lang="ru-RU" sz="2400" b="1" dirty="0">
                <a:ea typeface="Times New Roman" panose="02020603050405020304" pitchFamily="18" charset="0"/>
              </a:rPr>
              <a:t>нескольких статусов </a:t>
            </a:r>
            <a:r>
              <a:rPr lang="ru-RU" sz="2400" dirty="0">
                <a:ea typeface="Times New Roman" panose="02020603050405020304" pitchFamily="18" charset="0"/>
              </a:rPr>
              <a:t>(«продолживший обучение», «трудоустроен», «самозанятый» или «индивидуальный предприниматель» в целях исключения дублирования данных учитывается </a:t>
            </a:r>
            <a:r>
              <a:rPr lang="ru-RU" sz="2400" b="1" dirty="0">
                <a:ea typeface="Times New Roman" panose="02020603050405020304" pitchFamily="18" charset="0"/>
              </a:rPr>
              <a:t>только один из статусов выпускника</a:t>
            </a:r>
            <a:r>
              <a:rPr lang="ru-RU" sz="2400" dirty="0">
                <a:ea typeface="Times New Roman" panose="02020603050405020304" pitchFamily="18" charset="0"/>
              </a:rPr>
              <a:t> в следующем порядке </a:t>
            </a:r>
            <a:r>
              <a:rPr lang="ru-RU" sz="2400" b="1" dirty="0">
                <a:ea typeface="Times New Roman" panose="02020603050405020304" pitchFamily="18" charset="0"/>
              </a:rPr>
              <a:t>по приоритету </a:t>
            </a:r>
            <a:r>
              <a:rPr lang="ru-RU" sz="2400" dirty="0">
                <a:ea typeface="Times New Roman" panose="02020603050405020304" pitchFamily="18" charset="0"/>
              </a:rPr>
              <a:t>(от наиболее приоритетного к наименее приоритетному):</a:t>
            </a:r>
          </a:p>
          <a:p>
            <a:pPr marL="457200" indent="-457200" algn="just">
              <a:lnSpc>
                <a:spcPct val="130000"/>
              </a:lnSpc>
              <a:buFont typeface="+mj-lt"/>
              <a:buAutoNum type="arabicPeriod"/>
            </a:pPr>
            <a:endParaRPr lang="ru-RU" sz="2400" dirty="0"/>
          </a:p>
          <a:p>
            <a:pPr marL="342900" indent="0" algn="just">
              <a:spcAft>
                <a:spcPts val="0"/>
              </a:spcAft>
              <a:buNone/>
              <a:tabLst>
                <a:tab pos="229235" algn="l"/>
                <a:tab pos="381635" algn="l"/>
              </a:tabLst>
            </a:pPr>
            <a:r>
              <a:rPr lang="ru-RU" sz="2800" dirty="0">
                <a:ea typeface="Times New Roman" panose="02020603050405020304" pitchFamily="18" charset="0"/>
              </a:rPr>
              <a:t>          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ЕТОДИКА РАСЧЕТА ПОКАЗАТЕЛЯ АП8 </a:t>
            </a:r>
          </a:p>
        </p:txBody>
      </p:sp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326F132E-AE4F-D0B2-A9E3-C6ED0F51D3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5442613"/>
              </p:ext>
            </p:extLst>
          </p:nvPr>
        </p:nvGraphicFramePr>
        <p:xfrm>
          <a:off x="1728992" y="4417184"/>
          <a:ext cx="12001652" cy="5469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Овал 5">
            <a:extLst>
              <a:ext uri="{FF2B5EF4-FFF2-40B4-BE49-F238E27FC236}">
                <a16:creationId xmlns:a16="http://schemas.microsoft.com/office/drawing/2014/main" id="{99DC955F-3A0E-3E1B-FE06-70C42B899694}"/>
              </a:ext>
            </a:extLst>
          </p:cNvPr>
          <p:cNvSpPr/>
          <p:nvPr/>
        </p:nvSpPr>
        <p:spPr>
          <a:xfrm>
            <a:off x="784785" y="6063343"/>
            <a:ext cx="10351301" cy="236220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2053D1-344C-E151-35E6-DC1643E113C0}"/>
              </a:ext>
            </a:extLst>
          </p:cNvPr>
          <p:cNvSpPr txBox="1"/>
          <p:nvPr/>
        </p:nvSpPr>
        <p:spPr>
          <a:xfrm>
            <a:off x="5094514" y="9154412"/>
            <a:ext cx="2292551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Учитываются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6C6E90-8998-34E8-9CA1-B02C2BCD4CAD}"/>
              </a:ext>
            </a:extLst>
          </p:cNvPr>
          <p:cNvSpPr txBox="1"/>
          <p:nvPr/>
        </p:nvSpPr>
        <p:spPr>
          <a:xfrm>
            <a:off x="11082586" y="9142038"/>
            <a:ext cx="2757422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е учитываются </a:t>
            </a:r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27C75B94-326C-BE53-91A2-7DBFBE55CA10}"/>
              </a:ext>
            </a:extLst>
          </p:cNvPr>
          <p:cNvCxnSpPr/>
          <p:nvPr/>
        </p:nvCxnSpPr>
        <p:spPr>
          <a:xfrm>
            <a:off x="6240789" y="8547988"/>
            <a:ext cx="0" cy="59405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A2ABFB8D-317D-46AB-3859-98B3C075AA3B}"/>
              </a:ext>
            </a:extLst>
          </p:cNvPr>
          <p:cNvCxnSpPr/>
          <p:nvPr/>
        </p:nvCxnSpPr>
        <p:spPr>
          <a:xfrm>
            <a:off x="12227931" y="8507147"/>
            <a:ext cx="0" cy="59405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314991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B82E177-F227-B59F-8C13-8AB250D23361}"/>
                  </a:ext>
                </a:extLst>
              </p:cNvPr>
              <p:cNvSpPr txBox="1"/>
              <p:nvPr/>
            </p:nvSpPr>
            <p:spPr>
              <a:xfrm>
                <a:off x="1147989" y="3815123"/>
                <a:ext cx="12823371" cy="566725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𝑻</m:t>
                        </m:r>
                      </m:e>
                      <m:sup>
                        <m:r>
                          <a:rPr lang="en-US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𝐭</m:t>
                        </m:r>
                        <m:r>
                          <a:rPr lang="ru-RU" sz="2000" b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, </m:t>
                        </m:r>
                        <m:r>
                          <a:rPr lang="en-US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𝒕</m:t>
                        </m:r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𝟏</m:t>
                        </m:r>
                      </m:sup>
                    </m:sSup>
                    <m:r>
                      <a:rPr lang="ru-RU" sz="2000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– </m:t>
                    </m:r>
                  </m:oMath>
                </a14:m>
                <a:r>
                  <a:rPr lang="ru-RU" sz="2000" dirty="0">
                    <a:ea typeface="Times New Roman" panose="02020603050405020304" pitchFamily="18" charset="0"/>
                  </a:rPr>
                  <a:t>численность выпускников вуза</a:t>
                </a:r>
                <a:r>
                  <a:rPr lang="ru-RU" sz="2000" dirty="0">
                    <a:ea typeface="Calibri" panose="020F0502020204030204" pitchFamily="34" charset="0"/>
                  </a:rPr>
                  <a:t>,</a:t>
                </a:r>
                <a:r>
                  <a:rPr lang="ru-RU" sz="2000" dirty="0">
                    <a:ea typeface="Times New Roman" panose="02020603050405020304" pitchFamily="18" charset="0"/>
                  </a:rPr>
                  <a:t> которые осуществляли трудовую деятельность по </a:t>
                </a:r>
                <a:r>
                  <a:rPr lang="ru-RU" sz="2000" b="1" dirty="0">
                    <a:ea typeface="Times New Roman" panose="02020603050405020304" pitchFamily="18" charset="0"/>
                  </a:rPr>
                  <a:t>трудовому договору, договору ГПХ </a:t>
                </a:r>
                <a:r>
                  <a:rPr lang="ru-RU" sz="2000" dirty="0">
                    <a:ea typeface="Times New Roman" panose="02020603050405020304" pitchFamily="18" charset="0"/>
                  </a:rPr>
                  <a:t>в течение календарного года t-1 и (или) t</a:t>
                </a:r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:endParaRPr lang="ru-RU" sz="2000" dirty="0"/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ru-RU" sz="2000" b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И</m:t>
                        </m:r>
                      </m:e>
                      <m:sup>
                        <m:r>
                          <a:rPr lang="en-US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𝐭</m:t>
                        </m:r>
                        <m:r>
                          <a:rPr lang="ru-RU" sz="2000" b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,</m:t>
                        </m:r>
                        <m:r>
                          <a:rPr lang="en-US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𝐭</m:t>
                        </m:r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𝟏</m:t>
                        </m:r>
                      </m:sup>
                    </m:sSup>
                  </m:oMath>
                </a14:m>
                <a:r>
                  <a:rPr lang="ru-RU" sz="2000" dirty="0">
                    <a:ea typeface="Times New Roman" panose="02020603050405020304" pitchFamily="18" charset="0"/>
                  </a:rPr>
                  <a:t>– численность выпускников вуза, являвшихся действующими </a:t>
                </a:r>
                <a:r>
                  <a:rPr lang="ru-RU" sz="2000" b="1" dirty="0">
                    <a:ea typeface="Times New Roman" panose="02020603050405020304" pitchFamily="18" charset="0"/>
                  </a:rPr>
                  <a:t>предпринимателями</a:t>
                </a:r>
                <a:r>
                  <a:rPr lang="ru-RU" sz="2000" dirty="0">
                    <a:ea typeface="Times New Roman" panose="02020603050405020304" pitchFamily="18" charset="0"/>
                  </a:rPr>
                  <a:t> в течение календарного года t-1, и (или) t;</a:t>
                </a:r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:endParaRPr lang="ru-RU" sz="2000" dirty="0"/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ru-RU" sz="2000" b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Сз</m:t>
                        </m:r>
                      </m:e>
                      <m:sup>
                        <m:r>
                          <a:rPr lang="en-US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𝐭</m:t>
                        </m:r>
                        <m:r>
                          <a:rPr lang="ru-RU" sz="2000" b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,</m:t>
                        </m:r>
                        <m:r>
                          <a:rPr lang="en-US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𝐭</m:t>
                        </m:r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𝟏</m:t>
                        </m:r>
                      </m:sup>
                    </m:sSup>
                  </m:oMath>
                </a14:m>
                <a:r>
                  <a:rPr lang="ru-RU" sz="2000" dirty="0">
                    <a:ea typeface="Times New Roman" panose="02020603050405020304" pitchFamily="18" charset="0"/>
                  </a:rPr>
                  <a:t> – численность выпускников</a:t>
                </a:r>
                <a:r>
                  <a:rPr lang="ru-RU" sz="2000" dirty="0">
                    <a:ea typeface="Calibri" panose="020F0502020204030204" pitchFamily="34" charset="0"/>
                  </a:rPr>
                  <a:t>,</a:t>
                </a:r>
                <a:r>
                  <a:rPr lang="ru-RU" sz="2000" dirty="0">
                    <a:ea typeface="Times New Roman" panose="02020603050405020304" pitchFamily="18" charset="0"/>
                  </a:rPr>
                  <a:t> являвшихся </a:t>
                </a:r>
                <a:r>
                  <a:rPr lang="ru-RU" sz="2000" b="1" dirty="0">
                    <a:ea typeface="Times New Roman" panose="02020603050405020304" pitchFamily="18" charset="0"/>
                  </a:rPr>
                  <a:t>самозанятыми</a:t>
                </a:r>
                <a:r>
                  <a:rPr lang="ru-RU" sz="2000" dirty="0">
                    <a:ea typeface="Times New Roman" panose="02020603050405020304" pitchFamily="18" charset="0"/>
                  </a:rPr>
                  <a:t> в течение календарного года t-1, и (или) t </a:t>
                </a:r>
                <a:r>
                  <a:rPr lang="ru-RU" sz="2000" dirty="0">
                    <a:ea typeface="Calibri" panose="020F0502020204030204" pitchFamily="34" charset="0"/>
                  </a:rPr>
                  <a:t>(применявшими специальный налоговый режим </a:t>
                </a:r>
                <a:r>
                  <a:rPr lang="ru-RU" sz="2000" b="1" dirty="0">
                    <a:ea typeface="Calibri" panose="020F0502020204030204" pitchFamily="34" charset="0"/>
                  </a:rPr>
                  <a:t>«Налог на профессиональный доход»</a:t>
                </a:r>
                <a:r>
                  <a:rPr lang="ru-RU" sz="2000" dirty="0">
                    <a:ea typeface="Calibri" panose="020F0502020204030204" pitchFamily="34" charset="0"/>
                  </a:rPr>
                  <a:t>)</a:t>
                </a:r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:endParaRPr lang="ru-RU" sz="2000" dirty="0"/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В</m:t>
                        </m:r>
                      </m:e>
                      <m:sup>
                        <m:r>
                          <a:rPr lang="en-US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𝐭</m:t>
                        </m:r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𝟏</m:t>
                        </m:r>
                      </m:sup>
                    </m:sSup>
                  </m:oMath>
                </a14:m>
                <a:r>
                  <a:rPr lang="ru-RU" sz="2000" dirty="0">
                    <a:ea typeface="Times New Roman" panose="02020603050405020304" pitchFamily="18" charset="0"/>
                  </a:rPr>
                  <a:t> – общая численность выпускников вуза, завершивших обучение по ОПОП ВО в t-1 году</a:t>
                </a:r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:endParaRPr lang="ru-RU" sz="2000" dirty="0">
                  <a:ea typeface="Times New Roman" panose="02020603050405020304" pitchFamily="18" charset="0"/>
                </a:endParaRPr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ru-RU" sz="2000" b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Впо</m:t>
                        </m:r>
                      </m:e>
                      <m:sup>
                        <m:r>
                          <a:rPr lang="en-US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𝐭</m:t>
                        </m:r>
                        <m:r>
                          <a:rPr lang="ru-RU" sz="2000" b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,</m:t>
                        </m:r>
                        <m:r>
                          <a:rPr lang="en-US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𝐭</m:t>
                        </m:r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ru-RU" sz="20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𝟏</m:t>
                        </m:r>
                      </m:sup>
                    </m:sSup>
                  </m:oMath>
                </a14:m>
                <a:r>
                  <a:rPr lang="ru-RU" sz="2000" dirty="0">
                    <a:ea typeface="Times New Roman" panose="02020603050405020304" pitchFamily="18" charset="0"/>
                  </a:rPr>
                  <a:t> – численность выпускников вуза</a:t>
                </a:r>
                <a:r>
                  <a:rPr lang="ru-RU" sz="2000" dirty="0">
                    <a:ea typeface="Calibri" panose="020F0502020204030204" pitchFamily="34" charset="0"/>
                  </a:rPr>
                  <a:t>,</a:t>
                </a:r>
                <a:r>
                  <a:rPr lang="ru-RU" sz="2000" dirty="0">
                    <a:ea typeface="Times New Roman" panose="02020603050405020304" pitchFamily="18" charset="0"/>
                  </a:rPr>
                  <a:t> завершивших обучение по ОПОП ВО в t-1 году, продолживших обучение в организациях, осуществляющих образовательную деятельность, в календарном году t-1, и (или) t;</a:t>
                </a:r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:endParaRPr lang="ru-RU" sz="2000" dirty="0"/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:r>
                  <a:rPr lang="ru-RU" sz="2000" b="1" dirty="0">
                    <a:ea typeface="Times New Roman" panose="02020603050405020304" pitchFamily="18" charset="0"/>
                  </a:rPr>
                  <a:t>t</a:t>
                </a:r>
                <a:r>
                  <a:rPr lang="ru-RU" sz="2000" dirty="0">
                    <a:ea typeface="Times New Roman" panose="02020603050405020304" pitchFamily="18" charset="0"/>
                  </a:rPr>
                  <a:t> – календарный год, соответствующий отчетному году, следующий за годом выпуска;</a:t>
                </a:r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:endParaRPr lang="ru-RU" sz="2000" dirty="0"/>
              </a:p>
              <a:p>
                <a:pPr indent="144000" algn="just">
                  <a:spcAft>
                    <a:spcPts val="0"/>
                  </a:spcAft>
                  <a:tabLst>
                    <a:tab pos="229235" algn="l"/>
                    <a:tab pos="381635" algn="l"/>
                  </a:tabLst>
                </a:pPr>
                <a:r>
                  <a:rPr lang="ru-RU" sz="2000" b="1" dirty="0">
                    <a:ea typeface="Times New Roman" panose="02020603050405020304" pitchFamily="18" charset="0"/>
                  </a:rPr>
                  <a:t>t-1</a:t>
                </a:r>
                <a:r>
                  <a:rPr lang="ru-RU" sz="2000" dirty="0">
                    <a:ea typeface="Times New Roman" panose="02020603050405020304" pitchFamily="18" charset="0"/>
                  </a:rPr>
                  <a:t> – календарный год, соответствующий отчетному году выпуска.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B82E177-F227-B59F-8C13-8AB250D233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47989" y="3815123"/>
                <a:ext cx="12823371" cy="5667257"/>
              </a:xfrm>
              <a:prstGeom prst="rect">
                <a:avLst/>
              </a:prstGeom>
              <a:blipFill>
                <a:blip r:embed="rId2"/>
                <a:stretch>
                  <a:fillRect l="-475" t="-430" r="-475" b="-96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ФОРМУЛА РАСЧЕТА ПОКАЗАТЕЛЯ АП8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EB5887F-0106-95CA-128F-853C33090582}"/>
              </a:ext>
            </a:extLst>
          </p:cNvPr>
          <p:cNvSpPr/>
          <p:nvPr/>
        </p:nvSpPr>
        <p:spPr>
          <a:xfrm>
            <a:off x="4528125" y="2132763"/>
            <a:ext cx="6263459" cy="1337020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Прямоугольник 1"/>
              <p:cNvSpPr/>
              <p:nvPr/>
            </p:nvSpPr>
            <p:spPr>
              <a:xfrm>
                <a:off x="4145373" y="2293057"/>
                <a:ext cx="6262547" cy="10164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indent="450215" algn="just">
                  <a:lnSpc>
                    <a:spcPct val="107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8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2800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АП</m:t>
                          </m:r>
                        </m:e>
                        <m:sub>
                          <m:r>
                            <a:rPr lang="ru-RU" sz="2800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8</m:t>
                          </m:r>
                        </m:sub>
                      </m:sSub>
                      <m:r>
                        <a:rPr lang="ru-RU" sz="280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ru-RU" sz="28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ru-RU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Т</m:t>
                              </m:r>
                            </m:e>
                            <m:sup>
                              <m:r>
                                <m:rPr>
                                  <m:sty m:val="p"/>
                                </m:rP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t</m:t>
                              </m:r>
                              <m:r>
                                <a:rPr lang="en-US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en-US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  <m:r>
                                <a:rPr lang="en-US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−1</m:t>
                              </m:r>
                            </m:sup>
                          </m:sSup>
                          <m:r>
                            <a:rPr lang="ru-RU" sz="2800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ru-RU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И</m:t>
                              </m:r>
                            </m:e>
                            <m:sup>
                              <m:r>
                                <m:rPr>
                                  <m:sty m:val="p"/>
                                </m:rP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t</m:t>
                              </m:r>
                              <m: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m:rPr>
                                  <m:sty m:val="p"/>
                                </m:rP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t</m:t>
                              </m:r>
                              <m:r>
                                <a:rPr lang="en-US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1</m:t>
                              </m:r>
                            </m:sup>
                          </m:sSup>
                          <m:r>
                            <a:rPr lang="ru-RU" sz="2800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ru-RU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Сз</m:t>
                              </m:r>
                            </m:e>
                            <m:sup>
                              <m:r>
                                <m:rPr>
                                  <m:sty m:val="p"/>
                                </m:rP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t</m:t>
                              </m:r>
                              <m: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m:rPr>
                                  <m:sty m:val="p"/>
                                </m:rP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t</m:t>
                              </m:r>
                              <m:r>
                                <a:rPr lang="en-US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1</m:t>
                              </m:r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ru-RU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В</m:t>
                              </m:r>
                            </m:e>
                            <m:sup>
                              <m:r>
                                <m:rPr>
                                  <m:sty m:val="p"/>
                                </m:rPr>
                                <a:rPr lang="ru-RU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t</m:t>
                              </m:r>
                              <m:r>
                                <a:rPr lang="ru-RU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ru-RU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1</m:t>
                              </m:r>
                            </m:sup>
                          </m:sSup>
                          <m:r>
                            <a:rPr lang="ru-RU" sz="28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−</m:t>
                          </m:r>
                          <m:sSup>
                            <m:sSupPr>
                              <m:ctrlPr>
                                <a:rPr lang="ru-RU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Впо</m:t>
                              </m:r>
                            </m:e>
                            <m:sup>
                              <m:r>
                                <m:rPr>
                                  <m:sty m:val="p"/>
                                </m:rP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t</m:t>
                              </m:r>
                              <m: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m:rPr>
                                  <m:sty m:val="p"/>
                                </m:rP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t</m:t>
                              </m:r>
                              <m:r>
                                <a:rPr lang="en-US" sz="28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en-US" sz="2800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1</m:t>
                              </m:r>
                            </m:sup>
                          </m:sSup>
                        </m:den>
                      </m:f>
                      <m:r>
                        <a:rPr lang="ru-RU" sz="280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×100%</m:t>
                      </m:r>
                    </m:oMath>
                  </m:oMathPara>
                </a14:m>
                <a:endParaRPr lang="ru-RU" sz="2800" dirty="0">
                  <a:latin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5373" y="2293057"/>
                <a:ext cx="6262547" cy="1016432"/>
              </a:xfrm>
              <a:prstGeom prst="rect">
                <a:avLst/>
              </a:prstGeom>
              <a:blipFill>
                <a:blip r:embed="rId3"/>
                <a:stretch>
                  <a:fillRect r="-301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6676844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ЧЕТНЫЙ ПЕРИОД ПОКАЗАТЕЛЯ АП8 </a:t>
            </a:r>
          </a:p>
        </p:txBody>
      </p:sp>
      <p:graphicFrame>
        <p:nvGraphicFramePr>
          <p:cNvPr id="5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2426836"/>
              </p:ext>
            </p:extLst>
          </p:nvPr>
        </p:nvGraphicFramePr>
        <p:xfrm>
          <a:off x="1735180" y="4085216"/>
          <a:ext cx="6742922" cy="36065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42922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606502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предоставляется по выпуску обучающихся </a:t>
                      </a:r>
                      <a:r>
                        <a:rPr lang="ru-RU" sz="28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 два года 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 проведения </a:t>
                      </a:r>
                      <a:r>
                        <a:rPr lang="ru-RU" sz="280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тационного</a:t>
                      </a:r>
                      <a:r>
                        <a:rPr lang="ru-RU" sz="2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ониторинга</a:t>
                      </a:r>
                      <a:endParaRPr lang="ru-RU" sz="16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39F34ED7-2D71-6574-9B2C-AF87246C9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1005319"/>
              </p:ext>
            </p:extLst>
          </p:nvPr>
        </p:nvGraphicFramePr>
        <p:xfrm>
          <a:off x="9291918" y="4085216"/>
          <a:ext cx="5156678" cy="36065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56678">
                  <a:extLst>
                    <a:ext uri="{9D8B030D-6E8A-4147-A177-3AD203B41FA5}">
                      <a16:colId xmlns:a16="http://schemas.microsoft.com/office/drawing/2014/main" val="3267534801"/>
                    </a:ext>
                  </a:extLst>
                </a:gridCol>
              </a:tblGrid>
              <a:tr h="3606502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4400" b="1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6000" b="1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ru-RU" sz="6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945" marR="20945" marT="34457" marB="344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047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871451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ОКАЗАТЕЛЬ АП8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0583" y="1320245"/>
            <a:ext cx="9482523" cy="9154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8740484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ПРЕДПРОСМОТР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3337" y="2220846"/>
            <a:ext cx="5830754" cy="76563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9E5899A-DFA3-1277-D2DC-687C262907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3739" y="2166258"/>
            <a:ext cx="5914351" cy="7765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1523426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ПРАВИТ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415" y="2191871"/>
            <a:ext cx="13216020" cy="63873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7537615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FD31CDF0-4C16-0C91-B371-E04537F47969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ТЧЕТ</a:t>
            </a:r>
          </a:p>
        </p:txBody>
      </p:sp>
      <p:pic>
        <p:nvPicPr>
          <p:cNvPr id="5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315" y="2259562"/>
            <a:ext cx="5692588" cy="78770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66D7836-9A1C-F07B-2356-571DAC34DD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8085" y="2259562"/>
            <a:ext cx="5951830" cy="79308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463129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5">
            <a:extLst>
              <a:ext uri="{FF2B5EF4-FFF2-40B4-BE49-F238E27FC236}">
                <a16:creationId xmlns:a16="http://schemas.microsoft.com/office/drawing/2014/main" id="{0DA8F612-1DFA-BDD1-A51A-E186767EAE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1482044"/>
              </p:ext>
            </p:extLst>
          </p:nvPr>
        </p:nvGraphicFramePr>
        <p:xfrm>
          <a:off x="1709059" y="1876489"/>
          <a:ext cx="5146341" cy="76744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F62C825-FC8A-BAFC-A27B-B37B062B6252}"/>
              </a:ext>
            </a:extLst>
          </p:cNvPr>
          <p:cNvSpPr/>
          <p:nvPr/>
        </p:nvSpPr>
        <p:spPr>
          <a:xfrm>
            <a:off x="3374502" y="8153384"/>
            <a:ext cx="6929963" cy="802115"/>
          </a:xfrm>
          <a:prstGeom prst="rect">
            <a:avLst/>
          </a:prstGeom>
          <a:solidFill>
            <a:srgbClr val="B7DC8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Комплекс мер по достижению показателей 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09A0F1BE-5B25-D262-1955-B7B184284E84}"/>
              </a:ext>
            </a:extLst>
          </p:cNvPr>
          <p:cNvCxnSpPr>
            <a:cxnSpLocks/>
          </p:cNvCxnSpPr>
          <p:nvPr/>
        </p:nvCxnSpPr>
        <p:spPr>
          <a:xfrm>
            <a:off x="7347718" y="2342696"/>
            <a:ext cx="21702" cy="5549447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12B1502-D104-EDF0-EF15-794AC8B09A46}"/>
              </a:ext>
            </a:extLst>
          </p:cNvPr>
          <p:cNvSpPr txBox="1"/>
          <p:nvPr/>
        </p:nvSpPr>
        <p:spPr>
          <a:xfrm>
            <a:off x="8266958" y="2342696"/>
            <a:ext cx="15591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/>
              <a:t>Шкала</a:t>
            </a:r>
            <a:r>
              <a:rPr lang="ru-RU" dirty="0"/>
              <a:t>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B770338-0530-9B45-63A7-B0C0D2BB1DE9}"/>
              </a:ext>
            </a:extLst>
          </p:cNvPr>
          <p:cNvSpPr/>
          <p:nvPr/>
        </p:nvSpPr>
        <p:spPr>
          <a:xfrm>
            <a:off x="7926843" y="3188712"/>
            <a:ext cx="2392213" cy="1235444"/>
          </a:xfrm>
          <a:prstGeom prst="rect">
            <a:avLst/>
          </a:prstGeom>
          <a:solidFill>
            <a:srgbClr val="EF634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50% и более ОПОП</a:t>
            </a:r>
          </a:p>
          <a:p>
            <a:pPr algn="ctr"/>
            <a:r>
              <a:rPr lang="ru-RU" dirty="0">
                <a:solidFill>
                  <a:schemeClr val="tx1"/>
                </a:solidFill>
              </a:rPr>
              <a:t>не достигли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1E01D72-CCB8-EB5D-105B-7EB2D2875A47}"/>
              </a:ext>
            </a:extLst>
          </p:cNvPr>
          <p:cNvSpPr/>
          <p:nvPr/>
        </p:nvSpPr>
        <p:spPr>
          <a:xfrm>
            <a:off x="7912253" y="4546657"/>
            <a:ext cx="2392213" cy="1235444"/>
          </a:xfrm>
          <a:prstGeom prst="rect">
            <a:avLst/>
          </a:prstGeom>
          <a:solidFill>
            <a:srgbClr val="E3D23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40% - 49% ОПОП</a:t>
            </a:r>
          </a:p>
          <a:p>
            <a:pPr algn="ctr"/>
            <a:r>
              <a:rPr lang="ru-RU" dirty="0">
                <a:solidFill>
                  <a:schemeClr val="tx1"/>
                </a:solidFill>
              </a:rPr>
              <a:t>не достигли 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2E0ABAB-928C-1B76-D91F-104E2B2EC125}"/>
              </a:ext>
            </a:extLst>
          </p:cNvPr>
          <p:cNvSpPr/>
          <p:nvPr/>
        </p:nvSpPr>
        <p:spPr>
          <a:xfrm>
            <a:off x="7926843" y="5959832"/>
            <a:ext cx="2392213" cy="123544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39% и менее ОПОП</a:t>
            </a:r>
          </a:p>
          <a:p>
            <a:pPr algn="ctr"/>
            <a:r>
              <a:rPr lang="ru-RU" dirty="0">
                <a:solidFill>
                  <a:schemeClr val="tx1"/>
                </a:solidFill>
              </a:rPr>
              <a:t>не достигли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30B43A-4638-D98E-26EC-ECE7531375F9}"/>
              </a:ext>
            </a:extLst>
          </p:cNvPr>
          <p:cNvSpPr txBox="1"/>
          <p:nvPr/>
        </p:nvSpPr>
        <p:spPr>
          <a:xfrm>
            <a:off x="10437304" y="6254388"/>
            <a:ext cx="23245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/>
              <a:t>Зона низкого рис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E09FE94-5FAD-701F-4C31-B72F59E8AC66}"/>
              </a:ext>
            </a:extLst>
          </p:cNvPr>
          <p:cNvSpPr txBox="1"/>
          <p:nvPr/>
        </p:nvSpPr>
        <p:spPr>
          <a:xfrm>
            <a:off x="10437304" y="4993047"/>
            <a:ext cx="23922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/>
              <a:t>Зона среднего  риска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6F2422-773B-6370-E025-11DEA8EB5F8D}"/>
              </a:ext>
            </a:extLst>
          </p:cNvPr>
          <p:cNvSpPr txBox="1"/>
          <p:nvPr/>
        </p:nvSpPr>
        <p:spPr>
          <a:xfrm>
            <a:off x="10437304" y="3483268"/>
            <a:ext cx="23245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/>
              <a:t>Зона высокого риска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A2170D1-F4ED-6E9A-C684-6F0A66758184}"/>
              </a:ext>
            </a:extLst>
          </p:cNvPr>
          <p:cNvSpPr/>
          <p:nvPr/>
        </p:nvSpPr>
        <p:spPr>
          <a:xfrm>
            <a:off x="3374502" y="9673418"/>
            <a:ext cx="6929963" cy="768918"/>
          </a:xfrm>
          <a:prstGeom prst="rect">
            <a:avLst/>
          </a:prstGeom>
          <a:solidFill>
            <a:srgbClr val="EF634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Лишение аккредитации НЕ предусмотрено   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39F2F63-8B29-C12E-5A5B-47DEEAC753C1}"/>
              </a:ext>
            </a:extLst>
          </p:cNvPr>
          <p:cNvSpPr/>
          <p:nvPr/>
        </p:nvSpPr>
        <p:spPr>
          <a:xfrm>
            <a:off x="3374502" y="8955498"/>
            <a:ext cx="6929964" cy="71791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Контрольно-надзорная деятельность  </a:t>
            </a:r>
          </a:p>
        </p:txBody>
      </p:sp>
      <p:sp>
        <p:nvSpPr>
          <p:cNvPr id="19" name="Прямоугольник 12">
            <a:extLst>
              <a:ext uri="{FF2B5EF4-FFF2-40B4-BE49-F238E27FC236}">
                <a16:creationId xmlns:a16="http://schemas.microsoft.com/office/drawing/2014/main" id="{B54F2619-0077-8B8D-8352-C8171035A108}"/>
              </a:ext>
            </a:extLst>
          </p:cNvPr>
          <p:cNvSpPr/>
          <p:nvPr/>
        </p:nvSpPr>
        <p:spPr>
          <a:xfrm>
            <a:off x="1413337" y="643306"/>
            <a:ext cx="1134850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АНАЛИЗ РЕЗУЛЬТАТОВ </a:t>
            </a:r>
          </a:p>
        </p:txBody>
      </p:sp>
    </p:spTree>
    <p:extLst>
      <p:ext uri="{BB962C8B-B14F-4D97-AF65-F5344CB8AC3E}">
        <p14:creationId xmlns:p14="http://schemas.microsoft.com/office/powerpoint/2010/main" val="367455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2A122BB-762E-F1E3-83BE-AD4912F6BF31}"/>
              </a:ext>
            </a:extLst>
          </p:cNvPr>
          <p:cNvSpPr/>
          <p:nvPr/>
        </p:nvSpPr>
        <p:spPr>
          <a:xfrm>
            <a:off x="1413336" y="643306"/>
            <a:ext cx="11856349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УЧАСТНИКИ МОНИТОРИНГА  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E8E5DFC-33BB-96E8-F97B-B76CBB77C7F4}"/>
              </a:ext>
            </a:extLst>
          </p:cNvPr>
          <p:cNvSpPr/>
          <p:nvPr/>
        </p:nvSpPr>
        <p:spPr>
          <a:xfrm>
            <a:off x="827314" y="2819399"/>
            <a:ext cx="7467601" cy="1426030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chemeClr val="tx1"/>
                </a:solidFill>
              </a:rPr>
              <a:t>Головных вузов - </a:t>
            </a:r>
            <a:r>
              <a:rPr lang="ru-RU" sz="4800" b="1" dirty="0">
                <a:solidFill>
                  <a:schemeClr val="tx1"/>
                </a:solidFill>
              </a:rPr>
              <a:t>749 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89C2AB2-BA25-2A4B-7F02-FDA36158D5E7}"/>
              </a:ext>
            </a:extLst>
          </p:cNvPr>
          <p:cNvSpPr/>
          <p:nvPr/>
        </p:nvSpPr>
        <p:spPr>
          <a:xfrm>
            <a:off x="827314" y="4425379"/>
            <a:ext cx="7467601" cy="128825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chemeClr val="tx1"/>
                </a:solidFill>
              </a:rPr>
              <a:t>Филиалов - </a:t>
            </a:r>
            <a:r>
              <a:rPr lang="ru-RU" sz="4800" b="1" dirty="0">
                <a:solidFill>
                  <a:schemeClr val="tx1"/>
                </a:solidFill>
              </a:rPr>
              <a:t>649  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99EFBD8-B091-B233-7CF3-A20CB6644F3D}"/>
              </a:ext>
            </a:extLst>
          </p:cNvPr>
          <p:cNvSpPr/>
          <p:nvPr/>
        </p:nvSpPr>
        <p:spPr>
          <a:xfrm>
            <a:off x="827314" y="5902603"/>
            <a:ext cx="7467601" cy="1365140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chemeClr val="tx1"/>
                </a:solidFill>
              </a:rPr>
              <a:t>Вузов, реализующих программы СПО - </a:t>
            </a:r>
            <a:r>
              <a:rPr lang="ru-RU" sz="4800" b="1" dirty="0">
                <a:solidFill>
                  <a:schemeClr val="tx1"/>
                </a:solidFill>
              </a:rPr>
              <a:t>812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05FE5AE-0326-1131-3691-628143455E8C}"/>
              </a:ext>
            </a:extLst>
          </p:cNvPr>
          <p:cNvSpPr/>
          <p:nvPr/>
        </p:nvSpPr>
        <p:spPr>
          <a:xfrm>
            <a:off x="8577943" y="2820079"/>
            <a:ext cx="5519057" cy="6062661"/>
          </a:xfrm>
          <a:prstGeom prst="rect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600" dirty="0"/>
              <a:t>1398</a:t>
            </a:r>
            <a:r>
              <a:rPr lang="ru-RU" sz="6600" dirty="0"/>
              <a:t> </a:t>
            </a:r>
          </a:p>
          <a:p>
            <a:pPr algn="ctr"/>
            <a:r>
              <a:rPr lang="ru-RU" sz="4000" b="1" dirty="0"/>
              <a:t>  ВУЗОВ</a:t>
            </a:r>
            <a:r>
              <a:rPr lang="ru-RU" sz="6600" dirty="0"/>
              <a:t>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6F2FE05-B8E5-C7D9-E821-6F568F0046D0}"/>
              </a:ext>
            </a:extLst>
          </p:cNvPr>
          <p:cNvSpPr/>
          <p:nvPr/>
        </p:nvSpPr>
        <p:spPr>
          <a:xfrm>
            <a:off x="827314" y="7517600"/>
            <a:ext cx="7467601" cy="1365140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chemeClr val="tx1"/>
                </a:solidFill>
              </a:rPr>
              <a:t>Вузов, реализующих программы ОО - </a:t>
            </a:r>
            <a:r>
              <a:rPr lang="ru-RU" sz="4800" b="1" dirty="0">
                <a:solidFill>
                  <a:schemeClr val="tx1"/>
                </a:solidFill>
              </a:rPr>
              <a:t>113</a:t>
            </a:r>
          </a:p>
        </p:txBody>
      </p:sp>
    </p:spTree>
    <p:extLst>
      <p:ext uri="{BB962C8B-B14F-4D97-AF65-F5344CB8AC3E}">
        <p14:creationId xmlns:p14="http://schemas.microsoft.com/office/powerpoint/2010/main" val="9515026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A21F0CD-6FDF-A4AB-04FC-11F111918CF3}"/>
              </a:ext>
            </a:extLst>
          </p:cNvPr>
          <p:cNvSpPr txBox="1"/>
          <p:nvPr/>
        </p:nvSpPr>
        <p:spPr>
          <a:xfrm>
            <a:off x="642258" y="2122715"/>
            <a:ext cx="8088086" cy="85869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175" indent="-457175">
              <a:buAutoNum type="arabicPeriod"/>
            </a:pPr>
            <a:r>
              <a:rPr lang="ru-RU" sz="2400" b="1" dirty="0"/>
              <a:t>Подготовить приказы:</a:t>
            </a:r>
          </a:p>
          <a:p>
            <a:pPr marL="435529" indent="-435529">
              <a:buFontTx/>
              <a:buChar char="-"/>
            </a:pPr>
            <a:r>
              <a:rPr lang="ru-RU" sz="2400" dirty="0"/>
              <a:t>о назначении ответственных за участие ОО в аккредитационном мониторинге;</a:t>
            </a:r>
          </a:p>
          <a:p>
            <a:pPr marL="435529" indent="-435529">
              <a:buFontTx/>
              <a:buChar char="-"/>
            </a:pPr>
            <a:r>
              <a:rPr lang="ru-RU" sz="2400" dirty="0"/>
              <a:t>о назначении ответственных за актуализацию информации на сайте ОО</a:t>
            </a:r>
          </a:p>
          <a:p>
            <a:pPr marL="435529" indent="-435529">
              <a:buFontTx/>
              <a:buChar char="-"/>
            </a:pPr>
            <a:endParaRPr lang="ru-RU" sz="2400" dirty="0"/>
          </a:p>
          <a:p>
            <a:pPr marL="489970" indent="-489970">
              <a:buAutoNum type="arabicPeriod" startAt="2"/>
            </a:pPr>
            <a:r>
              <a:rPr lang="ru-RU" sz="2400" b="1" dirty="0"/>
              <a:t>Обеспечить подготовку </a:t>
            </a:r>
            <a:r>
              <a:rPr lang="ru-RU" sz="2400" dirty="0"/>
              <a:t>специалистов, которые будут вносить данные по показателям мониторинга</a:t>
            </a:r>
          </a:p>
          <a:p>
            <a:pPr marL="489970" indent="-489970">
              <a:buAutoNum type="arabicPeriod" startAt="2"/>
            </a:pPr>
            <a:endParaRPr lang="ru-RU" sz="2400" dirty="0"/>
          </a:p>
          <a:p>
            <a:pPr marL="489970" indent="-489970">
              <a:buAutoNum type="arabicPeriod" startAt="2"/>
            </a:pPr>
            <a:r>
              <a:rPr lang="ru-RU" sz="2400" b="1" dirty="0"/>
              <a:t>Внимательно</a:t>
            </a:r>
            <a:r>
              <a:rPr lang="ru-RU" sz="2400" dirty="0"/>
              <a:t> </a:t>
            </a:r>
            <a:r>
              <a:rPr lang="ru-RU" sz="2400" b="1" dirty="0"/>
              <a:t>изучить методику </a:t>
            </a:r>
            <a:r>
              <a:rPr lang="ru-RU" sz="2400" dirty="0"/>
              <a:t>расчета аккредитационных показателей.</a:t>
            </a:r>
          </a:p>
          <a:p>
            <a:pPr marL="489970" indent="-489970">
              <a:buAutoNum type="arabicPeriod" startAt="2"/>
            </a:pPr>
            <a:endParaRPr lang="ru-RU" sz="2400" dirty="0"/>
          </a:p>
          <a:p>
            <a:pPr marL="489970" indent="-489970">
              <a:buAutoNum type="arabicPeriod" startAt="2"/>
            </a:pPr>
            <a:r>
              <a:rPr lang="ru-RU" sz="2400" b="1" dirty="0"/>
              <a:t>Проверить наличие информации </a:t>
            </a:r>
            <a:r>
              <a:rPr lang="ru-RU" sz="2400" dirty="0"/>
              <a:t>и данных по показателям аккредитационного мониторинга (чек-лист готовности)</a:t>
            </a:r>
          </a:p>
          <a:p>
            <a:pPr marL="489970" indent="-489970">
              <a:buAutoNum type="arabicPeriod" startAt="2"/>
            </a:pPr>
            <a:endParaRPr lang="ru-RU" sz="2400" dirty="0"/>
          </a:p>
          <a:p>
            <a:pPr marL="489970" indent="-489970">
              <a:buAutoNum type="arabicPeriod" startAt="2"/>
            </a:pPr>
            <a:r>
              <a:rPr lang="ru-RU" sz="2400" b="1" dirty="0"/>
              <a:t>Провести заседания</a:t>
            </a:r>
            <a:r>
              <a:rPr lang="ru-RU" sz="2400" dirty="0"/>
              <a:t> педагогических советов, ученых советов по разъяснению коллективам смыслов и технологии проведения аккредитационного мониторинга. </a:t>
            </a:r>
          </a:p>
          <a:p>
            <a:pPr marL="489970" indent="-489970">
              <a:buAutoNum type="arabicPeriod" startAt="2"/>
            </a:pPr>
            <a:endParaRPr lang="ru-RU" sz="2400" dirty="0"/>
          </a:p>
          <a:p>
            <a:pPr marL="489970" indent="-489970">
              <a:buAutoNum type="arabicPeriod" startAt="2"/>
            </a:pPr>
            <a:r>
              <a:rPr lang="ru-RU" sz="2400" b="1" dirty="0"/>
              <a:t>Осуществить предварительный отбор </a:t>
            </a:r>
            <a:r>
              <a:rPr lang="ru-RU" sz="2400" dirty="0"/>
              <a:t>ОПОП </a:t>
            </a:r>
          </a:p>
          <a:p>
            <a:r>
              <a:rPr lang="ru-RU" sz="2400" dirty="0"/>
              <a:t> </a:t>
            </a:r>
          </a:p>
        </p:txBody>
      </p:sp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90BB7730-B9DF-43E6-51A7-E6188ACF4302}"/>
              </a:ext>
            </a:extLst>
          </p:cNvPr>
          <p:cNvSpPr/>
          <p:nvPr/>
        </p:nvSpPr>
        <p:spPr>
          <a:xfrm>
            <a:off x="1413336" y="643306"/>
            <a:ext cx="11856349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 ПОДГОТОВКА К МОНИТОРИНГУ   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D0697B7-0674-F7B0-8FD3-831073B48B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0972" y="2122715"/>
            <a:ext cx="6258378" cy="8093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21930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0CF167EA-2C97-4DCC-FDC0-45F5E17A98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0490798"/>
              </p:ext>
            </p:extLst>
          </p:nvPr>
        </p:nvGraphicFramePr>
        <p:xfrm>
          <a:off x="1245279" y="2550886"/>
          <a:ext cx="12187691" cy="60814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70CDAC8C-9817-18FE-4785-38CA73662555}"/>
              </a:ext>
            </a:extLst>
          </p:cNvPr>
          <p:cNvSpPr/>
          <p:nvPr/>
        </p:nvSpPr>
        <p:spPr>
          <a:xfrm>
            <a:off x="1413336" y="643306"/>
            <a:ext cx="11856349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 МЕХАНИЗМ ОТБОРА ПРОГРАММ 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1F833D-A900-A84F-324D-35023A3FD400}"/>
              </a:ext>
            </a:extLst>
          </p:cNvPr>
          <p:cNvSpPr txBox="1"/>
          <p:nvPr/>
        </p:nvSpPr>
        <p:spPr>
          <a:xfrm>
            <a:off x="3142547" y="8621485"/>
            <a:ext cx="822353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>
                <a:solidFill>
                  <a:srgbClr val="C00000"/>
                </a:solidFill>
              </a:rPr>
              <a:t>     Не более </a:t>
            </a:r>
            <a:r>
              <a:rPr lang="ru-RU" sz="5400" b="1" dirty="0">
                <a:solidFill>
                  <a:srgbClr val="C00000"/>
                </a:solidFill>
              </a:rPr>
              <a:t>10</a:t>
            </a:r>
            <a:r>
              <a:rPr lang="ru-RU" sz="3600" b="1" dirty="0">
                <a:solidFill>
                  <a:srgbClr val="C00000"/>
                </a:solidFill>
              </a:rPr>
              <a:t> ОПОП от вуза </a:t>
            </a:r>
          </a:p>
          <a:p>
            <a:r>
              <a:rPr lang="ru-RU" sz="3600" b="1" dirty="0">
                <a:solidFill>
                  <a:srgbClr val="C00000"/>
                </a:solidFill>
              </a:rPr>
              <a:t>Бакалавриат (6) + Магистратура (4)</a:t>
            </a:r>
          </a:p>
        </p:txBody>
      </p:sp>
    </p:spTree>
    <p:extLst>
      <p:ext uri="{BB962C8B-B14F-4D97-AF65-F5344CB8AC3E}">
        <p14:creationId xmlns:p14="http://schemas.microsoft.com/office/powerpoint/2010/main" val="2040929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18</TotalTime>
  <Words>3158</Words>
  <Application>Microsoft Office PowerPoint</Application>
  <PresentationFormat>Произвольный</PresentationFormat>
  <Paragraphs>546</Paragraphs>
  <Slides>67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67</vt:i4>
      </vt:variant>
    </vt:vector>
  </HeadingPairs>
  <TitlesOfParts>
    <vt:vector size="69" baseType="lpstr">
      <vt:lpstr>Тема Office</vt:lpstr>
      <vt:lpstr>1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плинов Ярослав</dc:creator>
  <cp:lastModifiedBy>Надежда Лисицкая</cp:lastModifiedBy>
  <cp:revision>868</cp:revision>
  <cp:lastPrinted>2021-03-16T12:01:01Z</cp:lastPrinted>
  <dcterms:created xsi:type="dcterms:W3CDTF">2020-06-19T06:58:49Z</dcterms:created>
  <dcterms:modified xsi:type="dcterms:W3CDTF">2023-09-22T04:04:12Z</dcterms:modified>
</cp:coreProperties>
</file>